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authors.xml" ContentType="application/vnd.ms-powerpoint.authors+xml"/>
  <Override PartName="/ppt/changesInfos/changesInfo1.xml" ContentType="application/vnd.ms-powerpoint.changesinfo+xml"/>
  <Override PartName="/ppt/embeddings/oleObject1.bin" ContentType="application/vnd.openxmlformats-officedocument.oleObject"/>
  <Override PartName="/ppt/embeddings/oleObject10.bin" ContentType="application/vnd.openxmlformats-officedocument.oleObject"/>
  <Override PartName="/ppt/embeddings/oleObject11.bin" ContentType="application/vnd.openxmlformats-officedocument.oleObject"/>
  <Override PartName="/ppt/embeddings/oleObject12.bin" ContentType="application/vnd.openxmlformats-officedocument.oleObject"/>
  <Override PartName="/ppt/embeddings/oleObject13.bin" ContentType="application/vnd.openxmlformats-officedocument.oleObject"/>
  <Override PartName="/ppt/embeddings/oleObject14.bin" ContentType="application/vnd.openxmlformats-officedocument.oleObject"/>
  <Override PartName="/ppt/embeddings/oleObject15.bin" ContentType="application/vnd.openxmlformats-officedocument.oleObject"/>
  <Override PartName="/ppt/embeddings/oleObject16.bin" ContentType="application/vnd.openxmlformats-officedocument.oleObject"/>
  <Override PartName="/ppt/embeddings/oleObject17.bin" ContentType="application/vnd.openxmlformats-officedocument.oleObject"/>
  <Override PartName="/ppt/embeddings/oleObject18.bin" ContentType="application/vnd.openxmlformats-officedocument.oleObject"/>
  <Override PartName="/ppt/embeddings/oleObject19.bin" ContentType="application/vnd.openxmlformats-officedocument.oleObject"/>
  <Override PartName="/ppt/embeddings/oleObject2.bin" ContentType="application/vnd.openxmlformats-officedocument.oleObject"/>
  <Override PartName="/ppt/embeddings/oleObject20.bin" ContentType="application/vnd.openxmlformats-officedocument.oleObject"/>
  <Override PartName="/ppt/embeddings/oleObject21.bin" ContentType="application/vnd.openxmlformats-officedocument.oleObject"/>
  <Override PartName="/ppt/embeddings/oleObject22.bin" ContentType="application/vnd.openxmlformats-officedocument.oleObject"/>
  <Override PartName="/ppt/embeddings/oleObject23.bin" ContentType="application/vnd.openxmlformats-officedocument.oleObject"/>
  <Override PartName="/ppt/embeddings/oleObject24.bin" ContentType="application/vnd.openxmlformats-officedocument.oleObject"/>
  <Override PartName="/ppt/embeddings/oleObject25.bin" ContentType="application/vnd.openxmlformats-officedocument.oleObject"/>
  <Override PartName="/ppt/embeddings/oleObject26.bin" ContentType="application/vnd.openxmlformats-officedocument.oleObject"/>
  <Override PartName="/ppt/embeddings/oleObject27.bin" ContentType="application/vnd.openxmlformats-officedocument.oleObject"/>
  <Override PartName="/ppt/embeddings/oleObject28.bin" ContentType="application/vnd.openxmlformats-officedocument.oleObject"/>
  <Override PartName="/ppt/embeddings/oleObject29.bin" ContentType="application/vnd.openxmlformats-officedocument.oleObject"/>
  <Override PartName="/ppt/embeddings/oleObject3.bin" ContentType="application/vnd.openxmlformats-officedocument.oleObject"/>
  <Override PartName="/ppt/embeddings/oleObject30.bin" ContentType="application/vnd.openxmlformats-officedocument.oleObject"/>
  <Override PartName="/ppt/embeddings/oleObject31.bin" ContentType="application/vnd.openxmlformats-officedocument.oleObject"/>
  <Override PartName="/ppt/embeddings/oleObject32.bin" ContentType="application/vnd.openxmlformats-officedocument.oleObject"/>
  <Override PartName="/ppt/embeddings/oleObject33.bin" ContentType="application/vnd.openxmlformats-officedocument.oleObject"/>
  <Override PartName="/ppt/embeddings/oleObject34.bin" ContentType="application/vnd.openxmlformats-officedocument.oleObject"/>
  <Override PartName="/ppt/embeddings/oleObject4.bin" ContentType="application/vnd.openxmlformats-officedocument.oleObject"/>
  <Override PartName="/ppt/embeddings/oleObject5.bin" ContentType="application/vnd.openxmlformats-officedocument.oleObject"/>
  <Override PartName="/ppt/embeddings/oleObject6.bin" ContentType="application/vnd.openxmlformats-officedocument.oleObject"/>
  <Override PartName="/ppt/embeddings/oleObject7.bin" ContentType="application/vnd.openxmlformats-officedocument.oleObject"/>
  <Override PartName="/ppt/embeddings/oleObject8.bin" ContentType="application/vnd.openxmlformats-officedocument.oleObject"/>
  <Override PartName="/ppt/embeddings/oleObject9.bin" ContentType="application/vnd.openxmlformats-officedocument.oleObject"/>
  <Override PartName="/ppt/handoutMasters/handoutMaster1.xml" ContentType="application/vnd.openxmlformats-officedocument.presentationml.handoutMaster+xml"/>
  <Override PartName="/ppt/media/image2.svg" ContentType="image/svg+xml"/>
  <Override PartName="/ppt/media/image28.svg" ContentType="image/svg+xml"/>
  <Override PartName="/ppt/media/image40.svg" ContentType="image/svg+xml"/>
  <Override PartName="/ppt/media/image41.svg" ContentType="image/svg+xml"/>
  <Override PartName="/ppt/media/image9.svg" ContentType="image/svg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revisionInfo.xml" ContentType="application/vnd.ms-powerpoint.revisioninfo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viewProps.xml" ContentType="application/vnd.openxmlformats-officedocument.presentationml.viewProps+xml"/>
</Types>
</file>

<file path=_rels/.rels><?xml version='1.0' encoding='UTF-8' standalone='yes'?>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00" r:id="rId4"/>
    <p:sldMasterId id="2147483717" r:id="rId5"/>
    <p:sldMasterId id="2147483726" r:id="rId6"/>
    <p:sldMasterId id="2147483696" r:id="rId7"/>
  </p:sldMasterIdLst>
  <p:notesMasterIdLst>
    <p:notesMasterId r:id="rId17"/>
  </p:notesMasterIdLst>
  <p:handoutMasterIdLst>
    <p:handoutMasterId r:id="rId18"/>
  </p:handoutMasterIdLst>
  <p:sldIdLst>
    <p:sldId id="256" r:id="rId16"/>
    <p:sldId id="257" r:id="rId15"/>
    <p:sldId id="258" r:id="rId14"/>
    <p:sldId id="259" r:id="rId13"/>
    <p:sldId id="260" r:id="rId12"/>
    <p:sldId id="261" r:id="rId11"/>
    <p:sldId id="262" r:id="rId10"/>
    <p:sldId id="263" r:id="rId9"/>
    <p:sldId id="264" r:id="rId8"/>
    <p:sldId id="265" r:id="rId27"/>
    <p:sldId id="266" r:id="rId28"/>
    <p:sldId id="267" r:id="rId29"/>
  </p:sldIdLst>
  <p:sldSz cx="12192000" cy="6858000"/>
  <p:notesSz cx="6858000" cy="9144000"/>
  <p:custDataLst>
    <p:tags r:id="rId1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413E4221-D9F0-4F2C-A298-87DE63C6A55F}" name="Sophie Taylor-Jackson" initials="ST" userId="S::sophie.taylor-jackson@bfygroup.co.uk::2cfb7738-e99e-4214-be44-8417dbd8590f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B4A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7A69A55-5C48-4744-B06F-92BB80F20369}" v="1" dt="2026-04-08T21:21:53.776"/>
    <p1510:client id="{6EF6F092-DFA3-4247-BE26-EDE775A0E857}" v="115" dt="2026-04-08T18:12:40.80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536" autoAdjust="0"/>
    <p:restoredTop sz="96213"/>
  </p:normalViewPr>
  <p:slideViewPr>
    <p:cSldViewPr snapToGrid="0">
      <p:cViewPr varScale="1">
        <p:scale>
          <a:sx n="115" d="100"/>
          <a:sy n="115" d="100"/>
        </p:scale>
        <p:origin x="824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<?xml version='1.0' encoding='UTF-8' standalone='yes'?>
<Relationships xmlns="http://schemas.openxmlformats.org/package/2006/relationships"><Relationship Id="rId1" Type="http://schemas.openxmlformats.org/officeDocument/2006/relationships/customXml" Target="../customXml/item1.xml"/><Relationship Id="rId2" Type="http://schemas.openxmlformats.org/officeDocument/2006/relationships/customXml" Target="../customXml/item2.xml"/><Relationship Id="rId3" Type="http://schemas.openxmlformats.org/officeDocument/2006/relationships/customXml" Target="../customXml/item3.xml"/><Relationship Id="rId4" Type="http://schemas.openxmlformats.org/officeDocument/2006/relationships/slideMaster" Target="slideMasters/slideMaster1.xml"/><Relationship Id="rId5" Type="http://schemas.openxmlformats.org/officeDocument/2006/relationships/slideMaster" Target="slideMasters/slideMaster2.xml"/><Relationship Id="rId6" Type="http://schemas.openxmlformats.org/officeDocument/2006/relationships/slideMaster" Target="slideMasters/slideMaster3.xml"/><Relationship Id="rId7" Type="http://schemas.openxmlformats.org/officeDocument/2006/relationships/slideMaster" Target="slideMasters/slideMaster4.xml"/><Relationship Id="rId8" Type="http://schemas.openxmlformats.org/officeDocument/2006/relationships/slide" Target="slides/slide9.xml"/><Relationship Id="rId9" Type="http://schemas.openxmlformats.org/officeDocument/2006/relationships/slide" Target="slides/slide8.xml"/><Relationship Id="rId10" Type="http://schemas.openxmlformats.org/officeDocument/2006/relationships/slide" Target="slides/slide7.xml"/><Relationship Id="rId11" Type="http://schemas.openxmlformats.org/officeDocument/2006/relationships/slide" Target="slides/slide6.xml"/><Relationship Id="rId12" Type="http://schemas.openxmlformats.org/officeDocument/2006/relationships/slide" Target="slides/slide5.xml"/><Relationship Id="rId13" Type="http://schemas.openxmlformats.org/officeDocument/2006/relationships/slide" Target="slides/slide4.xml"/><Relationship Id="rId14" Type="http://schemas.openxmlformats.org/officeDocument/2006/relationships/slide" Target="slides/slide3.xml"/><Relationship Id="rId15" Type="http://schemas.openxmlformats.org/officeDocument/2006/relationships/slide" Target="slides/slide2.xml"/><Relationship Id="rId16" Type="http://schemas.openxmlformats.org/officeDocument/2006/relationships/slide" Target="slides/slide1.xml"/><Relationship Id="rId17" Type="http://schemas.openxmlformats.org/officeDocument/2006/relationships/notesMaster" Target="notesMasters/notesMaster1.xml"/><Relationship Id="rId18" Type="http://schemas.openxmlformats.org/officeDocument/2006/relationships/handoutMaster" Target="handoutMasters/handoutMaster1.xml"/><Relationship Id="rId19" Type="http://schemas.openxmlformats.org/officeDocument/2006/relationships/tags" Target="tags/tag1.xml"/><Relationship Id="rId20" Type="http://schemas.openxmlformats.org/officeDocument/2006/relationships/presProps" Target="presProps.xml"/><Relationship Id="rId21" Type="http://schemas.openxmlformats.org/officeDocument/2006/relationships/viewProps" Target="viewProps.xml"/><Relationship Id="rId22" Type="http://schemas.openxmlformats.org/officeDocument/2006/relationships/theme" Target="theme/theme1.xml"/><Relationship Id="rId23" Type="http://schemas.openxmlformats.org/officeDocument/2006/relationships/tableStyles" Target="tableStyles.xml"/><Relationship Id="rId24" Type="http://schemas.microsoft.com/office/2016/11/relationships/changesInfo" Target="changesInfos/changesInfo1.xml"/><Relationship Id="rId25" Type="http://schemas.microsoft.com/office/2015/10/relationships/revisionInfo" Target="revisionInfo.xml"/><Relationship Id="rId26" Type="http://schemas.microsoft.com/office/2018/10/relationships/authors" Target="authors.xml"/><Relationship Id="rId27" Type="http://schemas.openxmlformats.org/officeDocument/2006/relationships/slide" Target="slides/slide10.xml"/><Relationship Id="rId28" Type="http://schemas.openxmlformats.org/officeDocument/2006/relationships/slide" Target="slides/slide11.xml"/><Relationship Id="rId29" Type="http://schemas.openxmlformats.org/officeDocument/2006/relationships/slide" Target="slides/slide12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tt Turner-Tait" userId="05f03595-15b3-4db4-8553-be6dab6ffcd9" providerId="ADAL" clId="{0C66D44D-13DC-539C-822A-3D6A2053A9AF}"/>
    <pc:docChg chg="undo custSel modSld modMainMaster">
      <pc:chgData name="Matt Turner-Tait" userId="05f03595-15b3-4db4-8553-be6dab6ffcd9" providerId="ADAL" clId="{0C66D44D-13DC-539C-822A-3D6A2053A9AF}" dt="2026-04-08T22:44:17.138" v="362" actId="2161"/>
      <pc:docMkLst>
        <pc:docMk/>
      </pc:docMkLst>
      <pc:sldChg chg="modSp mod">
        <pc:chgData name="Matt Turner-Tait" userId="05f03595-15b3-4db4-8553-be6dab6ffcd9" providerId="ADAL" clId="{0C66D44D-13DC-539C-822A-3D6A2053A9AF}" dt="2026-04-08T22:44:17.138" v="362" actId="2161"/>
        <pc:sldMkLst>
          <pc:docMk/>
          <pc:sldMk cId="3087062395" sldId="270"/>
        </pc:sldMkLst>
        <pc:graphicFrameChg chg="modGraphic">
          <ac:chgData name="Matt Turner-Tait" userId="05f03595-15b3-4db4-8553-be6dab6ffcd9" providerId="ADAL" clId="{0C66D44D-13DC-539C-822A-3D6A2053A9AF}" dt="2026-04-08T22:44:17.138" v="362" actId="2161"/>
          <ac:graphicFrameMkLst>
            <pc:docMk/>
            <pc:sldMk cId="3087062395" sldId="270"/>
            <ac:graphicFrameMk id="8" creationId="{41A4BE3F-38C6-D306-9D4C-F2C578B4FB51}"/>
          </ac:graphicFrameMkLst>
        </pc:graphicFrameChg>
      </pc:sldChg>
      <pc:sldChg chg="addSp delSp modSp mod chgLayout">
        <pc:chgData name="Matt Turner-Tait" userId="05f03595-15b3-4db4-8553-be6dab6ffcd9" providerId="ADAL" clId="{0C66D44D-13DC-539C-822A-3D6A2053A9AF}" dt="2026-04-08T17:58:12.568" v="284"/>
        <pc:sldMkLst>
          <pc:docMk/>
          <pc:sldMk cId="615020804" sldId="271"/>
        </pc:sldMkLst>
        <pc:spChg chg="add del mod">
          <ac:chgData name="Matt Turner-Tait" userId="05f03595-15b3-4db4-8553-be6dab6ffcd9" providerId="ADAL" clId="{0C66D44D-13DC-539C-822A-3D6A2053A9AF}" dt="2026-04-08T17:55:03.205" v="237" actId="478"/>
          <ac:spMkLst>
            <pc:docMk/>
            <pc:sldMk cId="615020804" sldId="271"/>
            <ac:spMk id="5" creationId="{6A997028-7A25-4126-C8FA-96047CBCBB19}"/>
          </ac:spMkLst>
        </pc:spChg>
        <pc:spChg chg="add mod ord">
          <ac:chgData name="Matt Turner-Tait" userId="05f03595-15b3-4db4-8553-be6dab6ffcd9" providerId="ADAL" clId="{0C66D44D-13DC-539C-822A-3D6A2053A9AF}" dt="2026-04-08T17:55:41.267" v="241" actId="700"/>
          <ac:spMkLst>
            <pc:docMk/>
            <pc:sldMk cId="615020804" sldId="271"/>
            <ac:spMk id="7" creationId="{D204E5EF-CF3C-E321-49CB-0C665C228AC1}"/>
          </ac:spMkLst>
        </pc:spChg>
        <pc:spChg chg="add del mod ord">
          <ac:chgData name="Matt Turner-Tait" userId="05f03595-15b3-4db4-8553-be6dab6ffcd9" providerId="ADAL" clId="{0C66D44D-13DC-539C-822A-3D6A2053A9AF}" dt="2026-04-08T17:58:11.976" v="271" actId="700"/>
          <ac:spMkLst>
            <pc:docMk/>
            <pc:sldMk cId="615020804" sldId="271"/>
            <ac:spMk id="8" creationId="{988A95EB-D291-51D1-6DF6-ECCBD4BC695C}"/>
          </ac:spMkLst>
        </pc:spChg>
        <pc:spChg chg="add del mod ord">
          <ac:chgData name="Matt Turner-Tait" userId="05f03595-15b3-4db4-8553-be6dab6ffcd9" providerId="ADAL" clId="{0C66D44D-13DC-539C-822A-3D6A2053A9AF}" dt="2026-04-08T17:58:11.976" v="271" actId="700"/>
          <ac:spMkLst>
            <pc:docMk/>
            <pc:sldMk cId="615020804" sldId="271"/>
            <ac:spMk id="9" creationId="{DD452338-AC2B-8E93-0860-F25FB6834B11}"/>
          </ac:spMkLst>
        </pc:spChg>
        <pc:spChg chg="add mod ord">
          <ac:chgData name="Matt Turner-Tait" userId="05f03595-15b3-4db4-8553-be6dab6ffcd9" providerId="ADAL" clId="{0C66D44D-13DC-539C-822A-3D6A2053A9AF}" dt="2026-04-08T17:55:41.267" v="241" actId="700"/>
          <ac:spMkLst>
            <pc:docMk/>
            <pc:sldMk cId="615020804" sldId="271"/>
            <ac:spMk id="10" creationId="{2909C02E-B119-8774-9CED-04840B2C9BF7}"/>
          </ac:spMkLst>
        </pc:spChg>
        <pc:spChg chg="add mod ord">
          <ac:chgData name="Matt Turner-Tait" userId="05f03595-15b3-4db4-8553-be6dab6ffcd9" providerId="ADAL" clId="{0C66D44D-13DC-539C-822A-3D6A2053A9AF}" dt="2026-04-08T17:55:41.267" v="241" actId="700"/>
          <ac:spMkLst>
            <pc:docMk/>
            <pc:sldMk cId="615020804" sldId="271"/>
            <ac:spMk id="11" creationId="{B10B1548-682D-C76C-A6C6-63987F906B21}"/>
          </ac:spMkLst>
        </pc:spChg>
        <pc:spChg chg="add del mod ord">
          <ac:chgData name="Matt Turner-Tait" userId="05f03595-15b3-4db4-8553-be6dab6ffcd9" providerId="ADAL" clId="{0C66D44D-13DC-539C-822A-3D6A2053A9AF}" dt="2026-04-08T17:58:11.976" v="271" actId="700"/>
          <ac:spMkLst>
            <pc:docMk/>
            <pc:sldMk cId="615020804" sldId="271"/>
            <ac:spMk id="12" creationId="{40C678D7-DD6D-B246-B01F-ED489B42C169}"/>
          </ac:spMkLst>
        </pc:spChg>
        <pc:spChg chg="add del mod ord">
          <ac:chgData name="Matt Turner-Tait" userId="05f03595-15b3-4db4-8553-be6dab6ffcd9" providerId="ADAL" clId="{0C66D44D-13DC-539C-822A-3D6A2053A9AF}" dt="2026-04-08T17:58:11.976" v="271" actId="700"/>
          <ac:spMkLst>
            <pc:docMk/>
            <pc:sldMk cId="615020804" sldId="271"/>
            <ac:spMk id="13" creationId="{4F7C2DFF-7001-6422-04C5-FE65D15F24D3}"/>
          </ac:spMkLst>
        </pc:spChg>
        <pc:spChg chg="add mod ord">
          <ac:chgData name="Matt Turner-Tait" userId="05f03595-15b3-4db4-8553-be6dab6ffcd9" providerId="ADAL" clId="{0C66D44D-13DC-539C-822A-3D6A2053A9AF}" dt="2026-04-08T17:55:41.267" v="241" actId="700"/>
          <ac:spMkLst>
            <pc:docMk/>
            <pc:sldMk cId="615020804" sldId="271"/>
            <ac:spMk id="15" creationId="{6F10703D-016A-4D83-0689-12B4974235EA}"/>
          </ac:spMkLst>
        </pc:spChg>
        <pc:spChg chg="add del mod ord">
          <ac:chgData name="Matt Turner-Tait" userId="05f03595-15b3-4db4-8553-be6dab6ffcd9" providerId="ADAL" clId="{0C66D44D-13DC-539C-822A-3D6A2053A9AF}" dt="2026-04-08T17:58:11.976" v="271" actId="700"/>
          <ac:spMkLst>
            <pc:docMk/>
            <pc:sldMk cId="615020804" sldId="271"/>
            <ac:spMk id="20" creationId="{3BA1468C-1214-6390-3C25-005FE02F289F}"/>
          </ac:spMkLst>
        </pc:spChg>
        <pc:spChg chg="add mod ord">
          <ac:chgData name="Matt Turner-Tait" userId="05f03595-15b3-4db4-8553-be6dab6ffcd9" providerId="ADAL" clId="{0C66D44D-13DC-539C-822A-3D6A2053A9AF}" dt="2026-04-08T17:55:41.267" v="241" actId="700"/>
          <ac:spMkLst>
            <pc:docMk/>
            <pc:sldMk cId="615020804" sldId="271"/>
            <ac:spMk id="21" creationId="{FC3D7C13-787E-A6BB-1975-DB194410892C}"/>
          </ac:spMkLst>
        </pc:spChg>
        <pc:spChg chg="add mod ord">
          <ac:chgData name="Matt Turner-Tait" userId="05f03595-15b3-4db4-8553-be6dab6ffcd9" providerId="ADAL" clId="{0C66D44D-13DC-539C-822A-3D6A2053A9AF}" dt="2026-04-08T17:58:11.976" v="271" actId="700"/>
          <ac:spMkLst>
            <pc:docMk/>
            <pc:sldMk cId="615020804" sldId="271"/>
            <ac:spMk id="24" creationId="{F380E7B0-AAE1-B31B-E3ED-BA1B19F0A859}"/>
          </ac:spMkLst>
        </pc:spChg>
        <pc:spChg chg="add mod ord">
          <ac:chgData name="Matt Turner-Tait" userId="05f03595-15b3-4db4-8553-be6dab6ffcd9" providerId="ADAL" clId="{0C66D44D-13DC-539C-822A-3D6A2053A9AF}" dt="2026-04-08T17:58:11.976" v="271" actId="700"/>
          <ac:spMkLst>
            <pc:docMk/>
            <pc:sldMk cId="615020804" sldId="271"/>
            <ac:spMk id="27" creationId="{EDBFF8B6-DED9-327A-89F3-4B284178210B}"/>
          </ac:spMkLst>
        </pc:spChg>
        <pc:spChg chg="add mod ord">
          <ac:chgData name="Matt Turner-Tait" userId="05f03595-15b3-4db4-8553-be6dab6ffcd9" providerId="ADAL" clId="{0C66D44D-13DC-539C-822A-3D6A2053A9AF}" dt="2026-04-08T17:58:11.976" v="271" actId="700"/>
          <ac:spMkLst>
            <pc:docMk/>
            <pc:sldMk cId="615020804" sldId="271"/>
            <ac:spMk id="30" creationId="{A0B10F6E-C8B3-F2F9-3DB5-22776E7917D4}"/>
          </ac:spMkLst>
        </pc:spChg>
        <pc:spChg chg="add mod ord">
          <ac:chgData name="Matt Turner-Tait" userId="05f03595-15b3-4db4-8553-be6dab6ffcd9" providerId="ADAL" clId="{0C66D44D-13DC-539C-822A-3D6A2053A9AF}" dt="2026-04-08T17:58:11.976" v="271" actId="700"/>
          <ac:spMkLst>
            <pc:docMk/>
            <pc:sldMk cId="615020804" sldId="271"/>
            <ac:spMk id="31" creationId="{18086229-CB8A-4762-F9AB-9BB8136E5E1A}"/>
          </ac:spMkLst>
        </pc:spChg>
        <pc:spChg chg="add mod ord">
          <ac:chgData name="Matt Turner-Tait" userId="05f03595-15b3-4db4-8553-be6dab6ffcd9" providerId="ADAL" clId="{0C66D44D-13DC-539C-822A-3D6A2053A9AF}" dt="2026-04-08T17:58:11.976" v="271" actId="700"/>
          <ac:spMkLst>
            <pc:docMk/>
            <pc:sldMk cId="615020804" sldId="271"/>
            <ac:spMk id="34" creationId="{B277253E-60FC-EC4A-E572-778E7FA9B46A}"/>
          </ac:spMkLst>
        </pc:spChg>
        <pc:graphicFrameChg chg="add mod modVis">
          <ac:chgData name="Matt Turner-Tait" userId="05f03595-15b3-4db4-8553-be6dab6ffcd9" providerId="ADAL" clId="{0C66D44D-13DC-539C-822A-3D6A2053A9AF}" dt="2026-04-08T17:56:55.658" v="260"/>
          <ac:graphicFrameMkLst>
            <pc:docMk/>
            <pc:sldMk cId="615020804" sldId="271"/>
            <ac:graphicFrameMk id="23" creationId="{A76D35A3-672B-6E3F-688C-A51C282F2EB3}"/>
          </ac:graphicFrameMkLst>
        </pc:graphicFrameChg>
        <pc:graphicFrameChg chg="add mod modVis">
          <ac:chgData name="Matt Turner-Tait" userId="05f03595-15b3-4db4-8553-be6dab6ffcd9" providerId="ADAL" clId="{0C66D44D-13DC-539C-822A-3D6A2053A9AF}" dt="2026-04-08T17:58:12.568" v="284"/>
          <ac:graphicFrameMkLst>
            <pc:docMk/>
            <pc:sldMk cId="615020804" sldId="271"/>
            <ac:graphicFrameMk id="38" creationId="{CB31786D-AB43-14C0-FD7E-E85D4F9A502C}"/>
          </ac:graphicFrameMkLst>
        </pc:graphicFrameChg>
      </pc:sldChg>
      <pc:sldChg chg="addSp delSp modSp mod chgLayout">
        <pc:chgData name="Matt Turner-Tait" userId="05f03595-15b3-4db4-8553-be6dab6ffcd9" providerId="ADAL" clId="{0C66D44D-13DC-539C-822A-3D6A2053A9AF}" dt="2026-04-08T21:21:53.776" v="361"/>
        <pc:sldMkLst>
          <pc:docMk/>
          <pc:sldMk cId="2104619793" sldId="273"/>
        </pc:sldMkLst>
        <pc:spChg chg="mod ord">
          <ac:chgData name="Matt Turner-Tait" userId="05f03595-15b3-4db4-8553-be6dab6ffcd9" providerId="ADAL" clId="{0C66D44D-13DC-539C-822A-3D6A2053A9AF}" dt="2026-04-08T18:08:52.433" v="311" actId="700"/>
          <ac:spMkLst>
            <pc:docMk/>
            <pc:sldMk cId="2104619793" sldId="273"/>
            <ac:spMk id="2" creationId="{81DB0408-672A-1464-AA5C-860CBB334540}"/>
          </ac:spMkLst>
        </pc:spChg>
        <pc:spChg chg="mod">
          <ac:chgData name="Matt Turner-Tait" userId="05f03595-15b3-4db4-8553-be6dab6ffcd9" providerId="ADAL" clId="{0C66D44D-13DC-539C-822A-3D6A2053A9AF}" dt="2026-04-08T21:21:53.033" v="359" actId="20577"/>
          <ac:spMkLst>
            <pc:docMk/>
            <pc:sldMk cId="2104619793" sldId="273"/>
            <ac:spMk id="4" creationId="{16E7FA33-79B3-600D-D903-1B3EF28C4839}"/>
          </ac:spMkLst>
        </pc:spChg>
        <pc:spChg chg="mod">
          <ac:chgData name="Matt Turner-Tait" userId="05f03595-15b3-4db4-8553-be6dab6ffcd9" providerId="ADAL" clId="{0C66D44D-13DC-539C-822A-3D6A2053A9AF}" dt="2026-04-08T16:20:50.020" v="21" actId="21"/>
          <ac:spMkLst>
            <pc:docMk/>
            <pc:sldMk cId="2104619793" sldId="273"/>
            <ac:spMk id="4" creationId="{5123FFFD-DDFD-9A7B-7A55-3C112FECCB2B}"/>
          </ac:spMkLst>
        </pc:spChg>
        <pc:spChg chg="mod">
          <ac:chgData name="Matt Turner-Tait" userId="05f03595-15b3-4db4-8553-be6dab6ffcd9" providerId="ADAL" clId="{0C66D44D-13DC-539C-822A-3D6A2053A9AF}" dt="2026-04-08T16:26:23.776" v="32" actId="21"/>
          <ac:spMkLst>
            <pc:docMk/>
            <pc:sldMk cId="2104619793" sldId="273"/>
            <ac:spMk id="5" creationId="{7B9BD707-D0E2-EA8A-FF26-5B10FC90F957}"/>
          </ac:spMkLst>
        </pc:spChg>
        <pc:spChg chg="add mod ord">
          <ac:chgData name="Matt Turner-Tait" userId="05f03595-15b3-4db4-8553-be6dab6ffcd9" providerId="ADAL" clId="{0C66D44D-13DC-539C-822A-3D6A2053A9AF}" dt="2026-04-08T18:08:52.433" v="311" actId="700"/>
          <ac:spMkLst>
            <pc:docMk/>
            <pc:sldMk cId="2104619793" sldId="273"/>
            <ac:spMk id="5" creationId="{9B7593B8-1781-A40A-9D39-CD426573D763}"/>
          </ac:spMkLst>
        </pc:spChg>
        <pc:spChg chg="del">
          <ac:chgData name="Matt Turner-Tait" userId="05f03595-15b3-4db4-8553-be6dab6ffcd9" providerId="ADAL" clId="{0C66D44D-13DC-539C-822A-3D6A2053A9AF}" dt="2026-04-08T16:31:38.255" v="60" actId="700"/>
          <ac:spMkLst>
            <pc:docMk/>
            <pc:sldMk cId="2104619793" sldId="273"/>
            <ac:spMk id="6" creationId="{4A362557-A833-45BA-C9CB-B8835A926D4B}"/>
          </ac:spMkLst>
        </pc:spChg>
        <pc:spChg chg="add mod ord">
          <ac:chgData name="Matt Turner-Tait" userId="05f03595-15b3-4db4-8553-be6dab6ffcd9" providerId="ADAL" clId="{0C66D44D-13DC-539C-822A-3D6A2053A9AF}" dt="2026-04-08T18:08:58.140" v="315" actId="20577"/>
          <ac:spMkLst>
            <pc:docMk/>
            <pc:sldMk cId="2104619793" sldId="273"/>
            <ac:spMk id="6" creationId="{C49E64BB-A71E-444E-1C10-DE4E63707773}"/>
          </ac:spMkLst>
        </pc:spChg>
        <pc:spChg chg="del">
          <ac:chgData name="Matt Turner-Tait" userId="05f03595-15b3-4db4-8553-be6dab6ffcd9" providerId="ADAL" clId="{0C66D44D-13DC-539C-822A-3D6A2053A9AF}" dt="2026-04-08T16:38:28.168" v="191" actId="700"/>
          <ac:spMkLst>
            <pc:docMk/>
            <pc:sldMk cId="2104619793" sldId="273"/>
            <ac:spMk id="7" creationId="{E01B13B4-5E9E-ECC9-C7D8-B924295BF6B4}"/>
          </ac:spMkLst>
        </pc:spChg>
        <pc:spChg chg="add mod ord">
          <ac:chgData name="Matt Turner-Tait" userId="05f03595-15b3-4db4-8553-be6dab6ffcd9" providerId="ADAL" clId="{0C66D44D-13DC-539C-822A-3D6A2053A9AF}" dt="2026-04-08T18:08:52.433" v="311" actId="700"/>
          <ac:spMkLst>
            <pc:docMk/>
            <pc:sldMk cId="2104619793" sldId="273"/>
            <ac:spMk id="8" creationId="{BB3E3492-CBA8-499F-2AB1-BAFA50DBC8D7}"/>
          </ac:spMkLst>
        </pc:spChg>
        <pc:spChg chg="del mod">
          <ac:chgData name="Matt Turner-Tait" userId="05f03595-15b3-4db4-8553-be6dab6ffcd9" providerId="ADAL" clId="{0C66D44D-13DC-539C-822A-3D6A2053A9AF}" dt="2026-04-08T16:31:38.255" v="60" actId="700"/>
          <ac:spMkLst>
            <pc:docMk/>
            <pc:sldMk cId="2104619793" sldId="273"/>
            <ac:spMk id="9" creationId="{06E442EE-FF64-2F69-7DF3-65C55077F0AE}"/>
          </ac:spMkLst>
        </pc:spChg>
        <pc:spChg chg="mod">
          <ac:chgData name="Matt Turner-Tait" userId="05f03595-15b3-4db4-8553-be6dab6ffcd9" providerId="ADAL" clId="{0C66D44D-13DC-539C-822A-3D6A2053A9AF}" dt="2026-04-08T16:29:38.541" v="53" actId="108"/>
          <ac:spMkLst>
            <pc:docMk/>
            <pc:sldMk cId="2104619793" sldId="273"/>
            <ac:spMk id="10" creationId="{9A6EFB08-E0F9-50CD-9A91-8C86AC02C198}"/>
          </ac:spMkLst>
        </pc:spChg>
        <pc:spChg chg="add mod ord">
          <ac:chgData name="Matt Turner-Tait" userId="05f03595-15b3-4db4-8553-be6dab6ffcd9" providerId="ADAL" clId="{0C66D44D-13DC-539C-822A-3D6A2053A9AF}" dt="2026-04-08T18:08:52.433" v="311" actId="700"/>
          <ac:spMkLst>
            <pc:docMk/>
            <pc:sldMk cId="2104619793" sldId="273"/>
            <ac:spMk id="10" creationId="{C88B44E9-18F0-D28F-C973-1844B1B86ECB}"/>
          </ac:spMkLst>
        </pc:spChg>
        <pc:spChg chg="mod">
          <ac:chgData name="Matt Turner-Tait" userId="05f03595-15b3-4db4-8553-be6dab6ffcd9" providerId="ADAL" clId="{0C66D44D-13DC-539C-822A-3D6A2053A9AF}" dt="2026-04-08T16:29:41.430" v="54" actId="108"/>
          <ac:spMkLst>
            <pc:docMk/>
            <pc:sldMk cId="2104619793" sldId="273"/>
            <ac:spMk id="11" creationId="{CAF1590C-9B2F-D1B6-042D-F11380D0A0C1}"/>
          </ac:spMkLst>
        </pc:spChg>
        <pc:spChg chg="del mod">
          <ac:chgData name="Matt Turner-Tait" userId="05f03595-15b3-4db4-8553-be6dab6ffcd9" providerId="ADAL" clId="{0C66D44D-13DC-539C-822A-3D6A2053A9AF}" dt="2026-04-08T16:31:38.255" v="60" actId="700"/>
          <ac:spMkLst>
            <pc:docMk/>
            <pc:sldMk cId="2104619793" sldId="273"/>
            <ac:spMk id="12" creationId="{40728690-4C14-F0CB-D67C-09944A20F346}"/>
          </ac:spMkLst>
        </pc:spChg>
        <pc:spChg chg="mod">
          <ac:chgData name="Matt Turner-Tait" userId="05f03595-15b3-4db4-8553-be6dab6ffcd9" providerId="ADAL" clId="{0C66D44D-13DC-539C-822A-3D6A2053A9AF}" dt="2026-04-08T16:30:04.939" v="56" actId="108"/>
          <ac:spMkLst>
            <pc:docMk/>
            <pc:sldMk cId="2104619793" sldId="273"/>
            <ac:spMk id="13" creationId="{090EA8CD-B519-E317-7CDC-837C7A87FEE8}"/>
          </ac:spMkLst>
        </pc:spChg>
        <pc:spChg chg="mod">
          <ac:chgData name="Matt Turner-Tait" userId="05f03595-15b3-4db4-8553-be6dab6ffcd9" providerId="ADAL" clId="{0C66D44D-13DC-539C-822A-3D6A2053A9AF}" dt="2026-04-08T16:30:09.530" v="57" actId="108"/>
          <ac:spMkLst>
            <pc:docMk/>
            <pc:sldMk cId="2104619793" sldId="273"/>
            <ac:spMk id="14" creationId="{08BF9F5D-79A2-432D-E0B1-C698AA4CB7C2}"/>
          </ac:spMkLst>
        </pc:spChg>
        <pc:spChg chg="add del mod modVis">
          <ac:chgData name="Matt Turner-Tait" userId="05f03595-15b3-4db4-8553-be6dab6ffcd9" providerId="ADAL" clId="{0C66D44D-13DC-539C-822A-3D6A2053A9AF}" dt="2026-04-08T18:12:39.925" v="342"/>
          <ac:spMkLst>
            <pc:docMk/>
            <pc:sldMk cId="2104619793" sldId="273"/>
            <ac:spMk id="14" creationId="{E15CE71F-299E-2206-47F9-BE0C6DC08B73}"/>
          </ac:spMkLst>
        </pc:spChg>
        <pc:spChg chg="mod ord">
          <ac:chgData name="Matt Turner-Tait" userId="05f03595-15b3-4db4-8553-be6dab6ffcd9" providerId="ADAL" clId="{0C66D44D-13DC-539C-822A-3D6A2053A9AF}" dt="2026-04-08T16:38:28.168" v="191" actId="700"/>
          <ac:spMkLst>
            <pc:docMk/>
            <pc:sldMk cId="2104619793" sldId="273"/>
            <ac:spMk id="15" creationId="{F0BF8AD8-AFEC-9487-5D97-334978873201}"/>
          </ac:spMkLst>
        </pc:spChg>
        <pc:spChg chg="add del mod ord">
          <ac:chgData name="Matt Turner-Tait" userId="05f03595-15b3-4db4-8553-be6dab6ffcd9" providerId="ADAL" clId="{0C66D44D-13DC-539C-822A-3D6A2053A9AF}" dt="2026-04-08T16:38:28.168" v="191" actId="700"/>
          <ac:spMkLst>
            <pc:docMk/>
            <pc:sldMk cId="2104619793" sldId="273"/>
            <ac:spMk id="16" creationId="{80C3896F-2BC5-5DC9-C185-450F1940C504}"/>
          </ac:spMkLst>
        </pc:spChg>
        <pc:spChg chg="add del mod ord">
          <ac:chgData name="Matt Turner-Tait" userId="05f03595-15b3-4db4-8553-be6dab6ffcd9" providerId="ADAL" clId="{0C66D44D-13DC-539C-822A-3D6A2053A9AF}" dt="2026-04-08T16:38:28.168" v="191" actId="700"/>
          <ac:spMkLst>
            <pc:docMk/>
            <pc:sldMk cId="2104619793" sldId="273"/>
            <ac:spMk id="17" creationId="{A5F30FF3-72C2-075D-C7A8-802508D0D2E5}"/>
          </ac:spMkLst>
        </pc:spChg>
        <pc:spChg chg="add del mod ord">
          <ac:chgData name="Matt Turner-Tait" userId="05f03595-15b3-4db4-8553-be6dab6ffcd9" providerId="ADAL" clId="{0C66D44D-13DC-539C-822A-3D6A2053A9AF}" dt="2026-04-08T16:38:28.168" v="191" actId="700"/>
          <ac:spMkLst>
            <pc:docMk/>
            <pc:sldMk cId="2104619793" sldId="273"/>
            <ac:spMk id="18" creationId="{A1A54CDF-BF17-1383-A29B-B6F5D4DE4004}"/>
          </ac:spMkLst>
        </pc:spChg>
        <pc:spChg chg="mod">
          <ac:chgData name="Matt Turner-Tait" userId="05f03595-15b3-4db4-8553-be6dab6ffcd9" providerId="ADAL" clId="{0C66D44D-13DC-539C-822A-3D6A2053A9AF}" dt="2026-04-08T16:33:24.157" v="74" actId="179"/>
          <ac:spMkLst>
            <pc:docMk/>
            <pc:sldMk cId="2104619793" sldId="273"/>
            <ac:spMk id="19" creationId="{A5F89E45-79AE-3BFC-980F-5A13847367F6}"/>
          </ac:spMkLst>
        </pc:spChg>
        <pc:spChg chg="mod">
          <ac:chgData name="Matt Turner-Tait" userId="05f03595-15b3-4db4-8553-be6dab6ffcd9" providerId="ADAL" clId="{0C66D44D-13DC-539C-822A-3D6A2053A9AF}" dt="2026-04-08T16:33:28.237" v="75" actId="179"/>
          <ac:spMkLst>
            <pc:docMk/>
            <pc:sldMk cId="2104619793" sldId="273"/>
            <ac:spMk id="20" creationId="{8473DB91-0A7C-A25B-2B49-94232290C4A0}"/>
          </ac:spMkLst>
        </pc:spChg>
        <pc:spChg chg="add del mod ord">
          <ac:chgData name="Matt Turner-Tait" userId="05f03595-15b3-4db4-8553-be6dab6ffcd9" providerId="ADAL" clId="{0C66D44D-13DC-539C-822A-3D6A2053A9AF}" dt="2026-04-08T16:38:28.168" v="191" actId="700"/>
          <ac:spMkLst>
            <pc:docMk/>
            <pc:sldMk cId="2104619793" sldId="273"/>
            <ac:spMk id="21" creationId="{D2056F64-F54C-A88B-E754-4BD1113F711E}"/>
          </ac:spMkLst>
        </pc:spChg>
        <pc:spChg chg="mod">
          <ac:chgData name="Matt Turner-Tait" userId="05f03595-15b3-4db4-8553-be6dab6ffcd9" providerId="ADAL" clId="{0C66D44D-13DC-539C-822A-3D6A2053A9AF}" dt="2026-04-08T16:34:40.094" v="80" actId="108"/>
          <ac:spMkLst>
            <pc:docMk/>
            <pc:sldMk cId="2104619793" sldId="273"/>
            <ac:spMk id="22" creationId="{37773AA2-0FEE-20AB-FBD0-C0B2E627F52F}"/>
          </ac:spMkLst>
        </pc:spChg>
        <pc:spChg chg="mod">
          <ac:chgData name="Matt Turner-Tait" userId="05f03595-15b3-4db4-8553-be6dab6ffcd9" providerId="ADAL" clId="{0C66D44D-13DC-539C-822A-3D6A2053A9AF}" dt="2026-04-08T16:33:53.771" v="78" actId="948"/>
          <ac:spMkLst>
            <pc:docMk/>
            <pc:sldMk cId="2104619793" sldId="273"/>
            <ac:spMk id="23" creationId="{3DFBED4E-0442-8C80-8CBC-4F8D80B037C6}"/>
          </ac:spMkLst>
        </pc:spChg>
        <pc:spChg chg="add del mod ord">
          <ac:chgData name="Matt Turner-Tait" userId="05f03595-15b3-4db4-8553-be6dab6ffcd9" providerId="ADAL" clId="{0C66D44D-13DC-539C-822A-3D6A2053A9AF}" dt="2026-04-08T16:38:28.168" v="191" actId="700"/>
          <ac:spMkLst>
            <pc:docMk/>
            <pc:sldMk cId="2104619793" sldId="273"/>
            <ac:spMk id="24" creationId="{E4316AC8-E45E-36EF-DBA4-042100292B11}"/>
          </ac:spMkLst>
        </pc:spChg>
        <pc:spChg chg="del">
          <ac:chgData name="Matt Turner-Tait" userId="05f03595-15b3-4db4-8553-be6dab6ffcd9" providerId="ADAL" clId="{0C66D44D-13DC-539C-822A-3D6A2053A9AF}" dt="2026-04-08T18:08:52.433" v="311" actId="700"/>
          <ac:spMkLst>
            <pc:docMk/>
            <pc:sldMk cId="2104619793" sldId="273"/>
            <ac:spMk id="26" creationId="{1C0BE22C-E462-9DBF-D0DE-549E4C9B9787}"/>
          </ac:spMkLst>
        </pc:spChg>
        <pc:spChg chg="add del mod ord">
          <ac:chgData name="Matt Turner-Tait" userId="05f03595-15b3-4db4-8553-be6dab6ffcd9" providerId="ADAL" clId="{0C66D44D-13DC-539C-822A-3D6A2053A9AF}" dt="2026-04-08T18:08:52.433" v="311" actId="700"/>
          <ac:spMkLst>
            <pc:docMk/>
            <pc:sldMk cId="2104619793" sldId="273"/>
            <ac:spMk id="27" creationId="{2390DCC9-B27E-8D2A-97FB-6630AF1CC899}"/>
          </ac:spMkLst>
        </pc:spChg>
        <pc:spChg chg="del mod">
          <ac:chgData name="Matt Turner-Tait" userId="05f03595-15b3-4db4-8553-be6dab6ffcd9" providerId="ADAL" clId="{0C66D44D-13DC-539C-822A-3D6A2053A9AF}" dt="2026-04-08T18:08:52.433" v="311" actId="700"/>
          <ac:spMkLst>
            <pc:docMk/>
            <pc:sldMk cId="2104619793" sldId="273"/>
            <ac:spMk id="28" creationId="{2B59D9D7-8D51-181A-CEC1-CF564186015B}"/>
          </ac:spMkLst>
        </pc:spChg>
        <pc:spChg chg="add del mod ord">
          <ac:chgData name="Matt Turner-Tait" userId="05f03595-15b3-4db4-8553-be6dab6ffcd9" providerId="ADAL" clId="{0C66D44D-13DC-539C-822A-3D6A2053A9AF}" dt="2026-04-08T18:08:52.433" v="311" actId="700"/>
          <ac:spMkLst>
            <pc:docMk/>
            <pc:sldMk cId="2104619793" sldId="273"/>
            <ac:spMk id="29" creationId="{F512A204-1F6D-C0C3-0B65-ED8ED9CBED56}"/>
          </ac:spMkLst>
        </pc:spChg>
        <pc:spChg chg="mod">
          <ac:chgData name="Matt Turner-Tait" userId="05f03595-15b3-4db4-8553-be6dab6ffcd9" providerId="ADAL" clId="{0C66D44D-13DC-539C-822A-3D6A2053A9AF}" dt="2026-04-08T17:39:07.634" v="225" actId="1035"/>
          <ac:spMkLst>
            <pc:docMk/>
            <pc:sldMk cId="2104619793" sldId="273"/>
            <ac:spMk id="30" creationId="{3D84673E-9C57-8455-3C10-B957FAE58F50}"/>
          </ac:spMkLst>
        </pc:spChg>
        <pc:spChg chg="mod">
          <ac:chgData name="Matt Turner-Tait" userId="05f03595-15b3-4db4-8553-be6dab6ffcd9" providerId="ADAL" clId="{0C66D44D-13DC-539C-822A-3D6A2053A9AF}" dt="2026-04-08T17:39:22.698" v="235" actId="1036"/>
          <ac:spMkLst>
            <pc:docMk/>
            <pc:sldMk cId="2104619793" sldId="273"/>
            <ac:spMk id="31" creationId="{8A365CF3-2145-D0DD-1CAC-C55C82C1F4CD}"/>
          </ac:spMkLst>
        </pc:spChg>
        <pc:spChg chg="del mod">
          <ac:chgData name="Matt Turner-Tait" userId="05f03595-15b3-4db4-8553-be6dab6ffcd9" providerId="ADAL" clId="{0C66D44D-13DC-539C-822A-3D6A2053A9AF}" dt="2026-04-08T18:08:52.433" v="311" actId="700"/>
          <ac:spMkLst>
            <pc:docMk/>
            <pc:sldMk cId="2104619793" sldId="273"/>
            <ac:spMk id="32" creationId="{AA737F06-0539-4063-FABD-9D72C190538D}"/>
          </ac:spMkLst>
        </pc:spChg>
        <pc:spChg chg="mod">
          <ac:chgData name="Matt Turner-Tait" userId="05f03595-15b3-4db4-8553-be6dab6ffcd9" providerId="ADAL" clId="{0C66D44D-13DC-539C-822A-3D6A2053A9AF}" dt="2026-04-08T17:39:07.634" v="225" actId="1035"/>
          <ac:spMkLst>
            <pc:docMk/>
            <pc:sldMk cId="2104619793" sldId="273"/>
            <ac:spMk id="33" creationId="{30639406-91C2-2F14-B6C8-F3C0D8BC41A0}"/>
          </ac:spMkLst>
        </pc:spChg>
        <pc:spChg chg="mod">
          <ac:chgData name="Matt Turner-Tait" userId="05f03595-15b3-4db4-8553-be6dab6ffcd9" providerId="ADAL" clId="{0C66D44D-13DC-539C-822A-3D6A2053A9AF}" dt="2026-04-08T17:39:22.698" v="235" actId="1036"/>
          <ac:spMkLst>
            <pc:docMk/>
            <pc:sldMk cId="2104619793" sldId="273"/>
            <ac:spMk id="34" creationId="{620F676A-25F8-A475-7674-95144EB3B06B}"/>
          </ac:spMkLst>
        </pc:spChg>
        <pc:spChg chg="mod">
          <ac:chgData name="Matt Turner-Tait" userId="05f03595-15b3-4db4-8553-be6dab6ffcd9" providerId="ADAL" clId="{0C66D44D-13DC-539C-822A-3D6A2053A9AF}" dt="2026-04-08T17:39:19.755" v="233" actId="1036"/>
          <ac:spMkLst>
            <pc:docMk/>
            <pc:sldMk cId="2104619793" sldId="273"/>
            <ac:spMk id="35" creationId="{65D90D09-3A00-8ACA-D8A5-825C4E002FFE}"/>
          </ac:spMkLst>
        </pc:spChg>
        <pc:graphicFrameChg chg="add mod modVis">
          <ac:chgData name="Matt Turner-Tait" userId="05f03595-15b3-4db4-8553-be6dab6ffcd9" providerId="ADAL" clId="{0C66D44D-13DC-539C-822A-3D6A2053A9AF}" dt="2026-04-08T21:21:53.776" v="361"/>
          <ac:graphicFrameMkLst>
            <pc:docMk/>
            <pc:sldMk cId="2104619793" sldId="273"/>
            <ac:graphicFrameMk id="25" creationId="{C2AFCC55-76E7-97BD-8F81-0C006A6A4F15}"/>
          </ac:graphicFrameMkLst>
        </pc:graphicFrameChg>
        <pc:cxnChg chg="add mod">
          <ac:chgData name="Matt Turner-Tait" userId="05f03595-15b3-4db4-8553-be6dab6ffcd9" providerId="ADAL" clId="{0C66D44D-13DC-539C-822A-3D6A2053A9AF}" dt="2026-04-08T17:31:24.741" v="215" actId="208"/>
          <ac:cxnSpMkLst>
            <pc:docMk/>
            <pc:sldMk cId="2104619793" sldId="273"/>
            <ac:cxnSpMk id="37" creationId="{5B77FF70-287D-0796-6DB0-5DB6F5681EDA}"/>
          </ac:cxnSpMkLst>
        </pc:cxnChg>
        <pc:cxnChg chg="add mod">
          <ac:chgData name="Matt Turner-Tait" userId="05f03595-15b3-4db4-8553-be6dab6ffcd9" providerId="ADAL" clId="{0C66D44D-13DC-539C-822A-3D6A2053A9AF}" dt="2026-04-08T16:39:27.519" v="201" actId="1076"/>
          <ac:cxnSpMkLst>
            <pc:docMk/>
            <pc:sldMk cId="2104619793" sldId="273"/>
            <ac:cxnSpMk id="39" creationId="{FF560321-48AE-4BA3-32F8-A6642318FA95}"/>
          </ac:cxnSpMkLst>
        </pc:cxnChg>
        <pc:cxnChg chg="add mod">
          <ac:chgData name="Matt Turner-Tait" userId="05f03595-15b3-4db4-8553-be6dab6ffcd9" providerId="ADAL" clId="{0C66D44D-13DC-539C-822A-3D6A2053A9AF}" dt="2026-04-08T16:39:25.200" v="200" actId="1076"/>
          <ac:cxnSpMkLst>
            <pc:docMk/>
            <pc:sldMk cId="2104619793" sldId="273"/>
            <ac:cxnSpMk id="40" creationId="{60A40EB9-50B6-B805-47F3-8A4E43E715C1}"/>
          </ac:cxnSpMkLst>
        </pc:cxnChg>
        <pc:cxnChg chg="add mod">
          <ac:chgData name="Matt Turner-Tait" userId="05f03595-15b3-4db4-8553-be6dab6ffcd9" providerId="ADAL" clId="{0C66D44D-13DC-539C-822A-3D6A2053A9AF}" dt="2026-04-08T17:31:24.741" v="215" actId="208"/>
          <ac:cxnSpMkLst>
            <pc:docMk/>
            <pc:sldMk cId="2104619793" sldId="273"/>
            <ac:cxnSpMk id="41" creationId="{D7B403E5-399D-BE1F-432B-FA5E5FBB0074}"/>
          </ac:cxnSpMkLst>
        </pc:cxnChg>
        <pc:cxnChg chg="add mod">
          <ac:chgData name="Matt Turner-Tait" userId="05f03595-15b3-4db4-8553-be6dab6ffcd9" providerId="ADAL" clId="{0C66D44D-13DC-539C-822A-3D6A2053A9AF}" dt="2026-04-08T17:31:24.741" v="215" actId="208"/>
          <ac:cxnSpMkLst>
            <pc:docMk/>
            <pc:sldMk cId="2104619793" sldId="273"/>
            <ac:cxnSpMk id="42" creationId="{17ACFBE6-266E-D27C-D884-6957F9D9F337}"/>
          </ac:cxnSpMkLst>
        </pc:cxnChg>
        <pc:cxnChg chg="add mod">
          <ac:chgData name="Matt Turner-Tait" userId="05f03595-15b3-4db4-8553-be6dab6ffcd9" providerId="ADAL" clId="{0C66D44D-13DC-539C-822A-3D6A2053A9AF}" dt="2026-04-08T17:31:24.741" v="215" actId="208"/>
          <ac:cxnSpMkLst>
            <pc:docMk/>
            <pc:sldMk cId="2104619793" sldId="273"/>
            <ac:cxnSpMk id="43" creationId="{433A5107-9F3B-8BEB-9429-DA238929B2BB}"/>
          </ac:cxnSpMkLst>
        </pc:cxnChg>
        <pc:cxnChg chg="add mod">
          <ac:chgData name="Matt Turner-Tait" userId="05f03595-15b3-4db4-8553-be6dab6ffcd9" providerId="ADAL" clId="{0C66D44D-13DC-539C-822A-3D6A2053A9AF}" dt="2026-04-08T17:31:24.741" v="215" actId="208"/>
          <ac:cxnSpMkLst>
            <pc:docMk/>
            <pc:sldMk cId="2104619793" sldId="273"/>
            <ac:cxnSpMk id="44" creationId="{4E083ACB-4598-C597-FE73-139F61A9C38E}"/>
          </ac:cxnSpMkLst>
        </pc:cxnChg>
      </pc:sldChg>
      <pc:sldMasterChg chg="modSldLayout">
        <pc:chgData name="Matt Turner-Tait" userId="05f03595-15b3-4db4-8553-be6dab6ffcd9" providerId="ADAL" clId="{0C66D44D-13DC-539C-822A-3D6A2053A9AF}" dt="2026-04-08T21:05:11.372" v="357" actId="179"/>
        <pc:sldMasterMkLst>
          <pc:docMk/>
          <pc:sldMasterMk cId="3124556521" sldId="2147483717"/>
        </pc:sldMasterMkLst>
        <pc:sldLayoutChg chg="addSp modSp mod">
          <pc:chgData name="Matt Turner-Tait" userId="05f03595-15b3-4db4-8553-be6dab6ffcd9" providerId="ADAL" clId="{0C66D44D-13DC-539C-822A-3D6A2053A9AF}" dt="2026-04-08T21:05:11.372" v="357" actId="179"/>
          <pc:sldLayoutMkLst>
            <pc:docMk/>
            <pc:sldMasterMk cId="3124556521" sldId="2147483717"/>
            <pc:sldLayoutMk cId="3506481800" sldId="2147483789"/>
          </pc:sldLayoutMkLst>
          <pc:spChg chg="mod">
            <ac:chgData name="Matt Turner-Tait" userId="05f03595-15b3-4db4-8553-be6dab6ffcd9" providerId="ADAL" clId="{0C66D44D-13DC-539C-822A-3D6A2053A9AF}" dt="2026-04-08T17:55:28.027" v="240" actId="242"/>
            <ac:spMkLst>
              <pc:docMk/>
              <pc:sldMasterMk cId="3124556521" sldId="2147483717"/>
              <pc:sldLayoutMk cId="3506481800" sldId="2147483789"/>
              <ac:spMk id="2" creationId="{82D4F254-8E89-3A04-60AA-4349B680C996}"/>
            </ac:spMkLst>
          </pc:spChg>
          <pc:spChg chg="mod">
            <ac:chgData name="Matt Turner-Tait" userId="05f03595-15b3-4db4-8553-be6dab6ffcd9" providerId="ADAL" clId="{0C66D44D-13DC-539C-822A-3D6A2053A9AF}" dt="2026-04-08T17:55:28.027" v="240" actId="242"/>
            <ac:spMkLst>
              <pc:docMk/>
              <pc:sldMasterMk cId="3124556521" sldId="2147483717"/>
              <pc:sldLayoutMk cId="3506481800" sldId="2147483789"/>
              <ac:spMk id="5" creationId="{FB9B8448-9BE6-8B3D-83B3-E1BA1AF97F4F}"/>
            </ac:spMkLst>
          </pc:spChg>
          <pc:spChg chg="mod">
            <ac:chgData name="Matt Turner-Tait" userId="05f03595-15b3-4db4-8553-be6dab6ffcd9" providerId="ADAL" clId="{0C66D44D-13DC-539C-822A-3D6A2053A9AF}" dt="2026-04-08T17:55:28.027" v="240" actId="242"/>
            <ac:spMkLst>
              <pc:docMk/>
              <pc:sldMasterMk cId="3124556521" sldId="2147483717"/>
              <pc:sldLayoutMk cId="3506481800" sldId="2147483789"/>
              <ac:spMk id="10" creationId="{41B623AC-49BB-86BB-6870-10C55A5E98D4}"/>
            </ac:spMkLst>
          </pc:spChg>
          <pc:spChg chg="mod">
            <ac:chgData name="Matt Turner-Tait" userId="05f03595-15b3-4db4-8553-be6dab6ffcd9" providerId="ADAL" clId="{0C66D44D-13DC-539C-822A-3D6A2053A9AF}" dt="2026-04-08T17:55:28.027" v="240" actId="242"/>
            <ac:spMkLst>
              <pc:docMk/>
              <pc:sldMasterMk cId="3124556521" sldId="2147483717"/>
              <pc:sldLayoutMk cId="3506481800" sldId="2147483789"/>
              <ac:spMk id="11" creationId="{6F0BF736-1FB2-2038-EF0D-BF67742F8E65}"/>
            </ac:spMkLst>
          </pc:spChg>
          <pc:spChg chg="add mod">
            <ac:chgData name="Matt Turner-Tait" userId="05f03595-15b3-4db4-8553-be6dab6ffcd9" providerId="ADAL" clId="{0C66D44D-13DC-539C-822A-3D6A2053A9AF}" dt="2026-04-08T21:04:52.600" v="352" actId="179"/>
            <ac:spMkLst>
              <pc:docMk/>
              <pc:sldMasterMk cId="3124556521" sldId="2147483717"/>
              <pc:sldLayoutMk cId="3506481800" sldId="2147483789"/>
              <ac:spMk id="12" creationId="{03CD0C5E-8CF5-E265-8A8B-6495D3DCE5B1}"/>
            </ac:spMkLst>
          </pc:spChg>
          <pc:spChg chg="add mod">
            <ac:chgData name="Matt Turner-Tait" userId="05f03595-15b3-4db4-8553-be6dab6ffcd9" providerId="ADAL" clId="{0C66D44D-13DC-539C-822A-3D6A2053A9AF}" dt="2026-04-08T21:05:04.073" v="355" actId="179"/>
            <ac:spMkLst>
              <pc:docMk/>
              <pc:sldMasterMk cId="3124556521" sldId="2147483717"/>
              <pc:sldLayoutMk cId="3506481800" sldId="2147483789"/>
              <ac:spMk id="16" creationId="{ED83D7F3-4375-3EF3-423F-3D35DFACA7D7}"/>
            </ac:spMkLst>
          </pc:spChg>
          <pc:spChg chg="mod">
            <ac:chgData name="Matt Turner-Tait" userId="05f03595-15b3-4db4-8553-be6dab6ffcd9" providerId="ADAL" clId="{0C66D44D-13DC-539C-822A-3D6A2053A9AF}" dt="2026-04-08T21:04:41.083" v="350" actId="179"/>
            <ac:spMkLst>
              <pc:docMk/>
              <pc:sldMasterMk cId="3124556521" sldId="2147483717"/>
              <pc:sldLayoutMk cId="3506481800" sldId="2147483789"/>
              <ac:spMk id="17" creationId="{198B2382-455B-E20D-7888-0004757E80B5}"/>
            </ac:spMkLst>
          </pc:spChg>
          <pc:spChg chg="mod">
            <ac:chgData name="Matt Turner-Tait" userId="05f03595-15b3-4db4-8553-be6dab6ffcd9" providerId="ADAL" clId="{0C66D44D-13DC-539C-822A-3D6A2053A9AF}" dt="2026-04-08T21:05:11.372" v="357" actId="179"/>
            <ac:spMkLst>
              <pc:docMk/>
              <pc:sldMasterMk cId="3124556521" sldId="2147483717"/>
              <pc:sldLayoutMk cId="3506481800" sldId="2147483789"/>
              <ac:spMk id="18" creationId="{21015995-1F64-42E9-DB50-8B79931E7372}"/>
            </ac:spMkLst>
          </pc:spChg>
        </pc:sldLayoutChg>
        <pc:sldLayoutChg chg="addSp modSp mod">
          <pc:chgData name="Matt Turner-Tait" userId="05f03595-15b3-4db4-8553-be6dab6ffcd9" providerId="ADAL" clId="{0C66D44D-13DC-539C-822A-3D6A2053A9AF}" dt="2026-04-08T18:08:44.846" v="310" actId="207"/>
          <pc:sldLayoutMkLst>
            <pc:docMk/>
            <pc:sldMasterMk cId="3124556521" sldId="2147483717"/>
            <pc:sldLayoutMk cId="440272893" sldId="2147483791"/>
          </pc:sldLayoutMkLst>
          <pc:spChg chg="mod">
            <ac:chgData name="Matt Turner-Tait" userId="05f03595-15b3-4db4-8553-be6dab6ffcd9" providerId="ADAL" clId="{0C66D44D-13DC-539C-822A-3D6A2053A9AF}" dt="2026-04-08T18:08:39.149" v="309" actId="207"/>
            <ac:spMkLst>
              <pc:docMk/>
              <pc:sldMasterMk cId="3124556521" sldId="2147483717"/>
              <pc:sldLayoutMk cId="440272893" sldId="2147483791"/>
              <ac:spMk id="4" creationId="{71135705-09E6-131B-9C0F-3E65A1BA870B}"/>
            </ac:spMkLst>
          </pc:spChg>
          <pc:spChg chg="mod">
            <ac:chgData name="Matt Turner-Tait" userId="05f03595-15b3-4db4-8553-be6dab6ffcd9" providerId="ADAL" clId="{0C66D44D-13DC-539C-822A-3D6A2053A9AF}" dt="2026-04-08T18:08:44.846" v="310" actId="207"/>
            <ac:spMkLst>
              <pc:docMk/>
              <pc:sldMasterMk cId="3124556521" sldId="2147483717"/>
              <pc:sldLayoutMk cId="440272893" sldId="2147483791"/>
              <ac:spMk id="5" creationId="{1BEEB274-B5B7-FF8B-1B85-4EC5703189D0}"/>
            </ac:spMkLst>
          </pc:spChg>
          <pc:spChg chg="mod">
            <ac:chgData name="Matt Turner-Tait" userId="05f03595-15b3-4db4-8553-be6dab6ffcd9" providerId="ADAL" clId="{0C66D44D-13DC-539C-822A-3D6A2053A9AF}" dt="2026-04-08T18:08:39.149" v="309" actId="207"/>
            <ac:spMkLst>
              <pc:docMk/>
              <pc:sldMasterMk cId="3124556521" sldId="2147483717"/>
              <pc:sldLayoutMk cId="440272893" sldId="2147483791"/>
              <ac:spMk id="10" creationId="{CC0D3178-2E83-25F2-E108-6F0E2FAEC85D}"/>
            </ac:spMkLst>
          </pc:spChg>
          <pc:spChg chg="mod">
            <ac:chgData name="Matt Turner-Tait" userId="05f03595-15b3-4db4-8553-be6dab6ffcd9" providerId="ADAL" clId="{0C66D44D-13DC-539C-822A-3D6A2053A9AF}" dt="2026-04-08T18:08:39.149" v="309" actId="207"/>
            <ac:spMkLst>
              <pc:docMk/>
              <pc:sldMasterMk cId="3124556521" sldId="2147483717"/>
              <pc:sldLayoutMk cId="440272893" sldId="2147483791"/>
              <ac:spMk id="11" creationId="{276A6100-C158-2D88-1AF7-E7BEB05999D9}"/>
            </ac:spMkLst>
          </pc:spChg>
          <pc:spChg chg="mod">
            <ac:chgData name="Matt Turner-Tait" userId="05f03595-15b3-4db4-8553-be6dab6ffcd9" providerId="ADAL" clId="{0C66D44D-13DC-539C-822A-3D6A2053A9AF}" dt="2026-04-08T18:08:39.149" v="309" actId="207"/>
            <ac:spMkLst>
              <pc:docMk/>
              <pc:sldMasterMk cId="3124556521" sldId="2147483717"/>
              <pc:sldLayoutMk cId="440272893" sldId="2147483791"/>
              <ac:spMk id="12" creationId="{40A88851-670B-3A14-00A7-CEBF6637B810}"/>
            </ac:spMkLst>
          </pc:spChg>
          <pc:spChg chg="mod">
            <ac:chgData name="Matt Turner-Tait" userId="05f03595-15b3-4db4-8553-be6dab6ffcd9" providerId="ADAL" clId="{0C66D44D-13DC-539C-822A-3D6A2053A9AF}" dt="2026-04-08T18:08:13.214" v="300" actId="1035"/>
            <ac:spMkLst>
              <pc:docMk/>
              <pc:sldMasterMk cId="3124556521" sldId="2147483717"/>
              <pc:sldLayoutMk cId="440272893" sldId="2147483791"/>
              <ac:spMk id="13" creationId="{F9DC339A-75FE-507E-C171-4C0F5131FF73}"/>
            </ac:spMkLst>
          </pc:spChg>
          <pc:spChg chg="mod">
            <ac:chgData name="Matt Turner-Tait" userId="05f03595-15b3-4db4-8553-be6dab6ffcd9" providerId="ADAL" clId="{0C66D44D-13DC-539C-822A-3D6A2053A9AF}" dt="2026-04-08T18:08:23.250" v="304" actId="1036"/>
            <ac:spMkLst>
              <pc:docMk/>
              <pc:sldMasterMk cId="3124556521" sldId="2147483717"/>
              <pc:sldLayoutMk cId="440272893" sldId="2147483791"/>
              <ac:spMk id="14" creationId="{285DB50C-9240-4021-0F94-281E619070F5}"/>
            </ac:spMkLst>
          </pc:spChg>
          <pc:spChg chg="mod">
            <ac:chgData name="Matt Turner-Tait" userId="05f03595-15b3-4db4-8553-be6dab6ffcd9" providerId="ADAL" clId="{0C66D44D-13DC-539C-822A-3D6A2053A9AF}" dt="2026-04-08T18:08:28.985" v="307" actId="554"/>
            <ac:spMkLst>
              <pc:docMk/>
              <pc:sldMasterMk cId="3124556521" sldId="2147483717"/>
              <pc:sldLayoutMk cId="440272893" sldId="2147483791"/>
              <ac:spMk id="15" creationId="{38DCE444-8051-485A-7227-C1E52E3B6DC5}"/>
            </ac:spMkLst>
          </pc:spChg>
          <pc:spChg chg="mod">
            <ac:chgData name="Matt Turner-Tait" userId="05f03595-15b3-4db4-8553-be6dab6ffcd9" providerId="ADAL" clId="{0C66D44D-13DC-539C-822A-3D6A2053A9AF}" dt="2026-04-08T18:08:25.701" v="305" actId="1036"/>
            <ac:spMkLst>
              <pc:docMk/>
              <pc:sldMasterMk cId="3124556521" sldId="2147483717"/>
              <pc:sldLayoutMk cId="440272893" sldId="2147483791"/>
              <ac:spMk id="23" creationId="{4C551A70-39BD-D693-A254-FC6B2382A40F}"/>
            </ac:spMkLst>
          </pc:spChg>
          <pc:grpChg chg="add mod">
            <ac:chgData name="Matt Turner-Tait" userId="05f03595-15b3-4db4-8553-be6dab6ffcd9" providerId="ADAL" clId="{0C66D44D-13DC-539C-822A-3D6A2053A9AF}" dt="2026-04-08T18:07:58.364" v="289"/>
            <ac:grpSpMkLst>
              <pc:docMk/>
              <pc:sldMasterMk cId="3124556521" sldId="2147483717"/>
              <pc:sldLayoutMk cId="440272893" sldId="2147483791"/>
              <ac:grpSpMk id="7" creationId="{33355E53-DFA2-F45D-3B0A-18B396DDA7F8}"/>
            </ac:grpSpMkLst>
          </pc:grpChg>
          <pc:cxnChg chg="mod">
            <ac:chgData name="Matt Turner-Tait" userId="05f03595-15b3-4db4-8553-be6dab6ffcd9" providerId="ADAL" clId="{0C66D44D-13DC-539C-822A-3D6A2053A9AF}" dt="2026-04-08T18:07:58.364" v="289"/>
            <ac:cxnSpMkLst>
              <pc:docMk/>
              <pc:sldMasterMk cId="3124556521" sldId="2147483717"/>
              <pc:sldLayoutMk cId="440272893" sldId="2147483791"/>
              <ac:cxnSpMk id="16" creationId="{E9E2A7C5-8E84-B57A-C27B-6C257595C386}"/>
            </ac:cxnSpMkLst>
          </pc:cxnChg>
          <pc:cxnChg chg="mod">
            <ac:chgData name="Matt Turner-Tait" userId="05f03595-15b3-4db4-8553-be6dab6ffcd9" providerId="ADAL" clId="{0C66D44D-13DC-539C-822A-3D6A2053A9AF}" dt="2026-04-08T18:07:58.364" v="289"/>
            <ac:cxnSpMkLst>
              <pc:docMk/>
              <pc:sldMasterMk cId="3124556521" sldId="2147483717"/>
              <pc:sldLayoutMk cId="440272893" sldId="2147483791"/>
              <ac:cxnSpMk id="17" creationId="{A61EE6FC-1C3F-59CB-095D-874D3621BB81}"/>
            </ac:cxnSpMkLst>
          </pc:cxnChg>
          <pc:cxnChg chg="mod">
            <ac:chgData name="Matt Turner-Tait" userId="05f03595-15b3-4db4-8553-be6dab6ffcd9" providerId="ADAL" clId="{0C66D44D-13DC-539C-822A-3D6A2053A9AF}" dt="2026-04-08T18:07:58.364" v="289"/>
            <ac:cxnSpMkLst>
              <pc:docMk/>
              <pc:sldMasterMk cId="3124556521" sldId="2147483717"/>
              <pc:sldLayoutMk cId="440272893" sldId="2147483791"/>
              <ac:cxnSpMk id="18" creationId="{45F1B619-76B8-952A-DBE2-98561B2E1425}"/>
            </ac:cxnSpMkLst>
          </pc:cxnChg>
          <pc:cxnChg chg="mod">
            <ac:chgData name="Matt Turner-Tait" userId="05f03595-15b3-4db4-8553-be6dab6ffcd9" providerId="ADAL" clId="{0C66D44D-13DC-539C-822A-3D6A2053A9AF}" dt="2026-04-08T18:07:58.364" v="289"/>
            <ac:cxnSpMkLst>
              <pc:docMk/>
              <pc:sldMasterMk cId="3124556521" sldId="2147483717"/>
              <pc:sldLayoutMk cId="440272893" sldId="2147483791"/>
              <ac:cxnSpMk id="19" creationId="{955DA2DB-C9E2-8F00-D118-4FB20F2B0479}"/>
            </ac:cxnSpMkLst>
          </pc:cxnChg>
          <pc:cxnChg chg="mod">
            <ac:chgData name="Matt Turner-Tait" userId="05f03595-15b3-4db4-8553-be6dab6ffcd9" providerId="ADAL" clId="{0C66D44D-13DC-539C-822A-3D6A2053A9AF}" dt="2026-04-08T18:07:58.364" v="289"/>
            <ac:cxnSpMkLst>
              <pc:docMk/>
              <pc:sldMasterMk cId="3124556521" sldId="2147483717"/>
              <pc:sldLayoutMk cId="440272893" sldId="2147483791"/>
              <ac:cxnSpMk id="20" creationId="{23382A80-A4B1-C89A-EA59-2C9FBFEF3198}"/>
            </ac:cxnSpMkLst>
          </pc:cxnChg>
        </pc:sldLayoutChg>
      </pc:sldMasterChg>
    </pc:docChg>
  </pc:docChgLst>
</pc:chgInfo>
</file>

<file path=ppt/handoutMasters/_rels/handout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2EB00371-13A9-A983-B021-43972DA4C82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59C69FE-A574-64CE-D4D0-832E8C93B96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75EF331-30B4-44B0-86B5-22EE7D517DC1}" type="datetimeFigureOut">
              <a:rPr lang="en-GB" smtClean="0"/>
              <a:t>08/04/2026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30CA89-DDC1-558D-C4EC-076E774B752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1E20883-38BD-892D-7A99-18F6A368DF20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D9AC6D-3B38-49AB-89EF-8DF3D27AB5BB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861175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B5C09A6-63B1-4F4E-A504-D6FB700D005A}" type="datetimeFigureOut">
              <a:rPr lang="en-GB" smtClean="0"/>
              <a:t>08/04/2026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DB3BFB-A8D5-F342-8A36-806828226E65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047905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11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12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2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3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6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7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8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9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/>
          </p:cNvSpPr>
          <p:nvPr>
            <p:ph type="sldImg" idx="2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3" sz="quarter"/>
          </p:nvPr>
        </p:nvSpPr>
        <p:spPr/>
        <p:txBody>
          <a:bodyPr/>
          <a:lstStyle/>
          <a:p/>
        </p:txBody>
      </p:sp>
      <p:sp>
        <p:nvSpPr>
          <p:cNvPr id="4" name="Slide Number Placeholder 3"/>
          <p:cNvSpPr>
            <a:spLocks noGrp="1"/>
          </p:cNvSpPr>
          <p:nvPr>
            <p:ph type="sldNum" idx="5" sz="quarter"/>
          </p:nvPr>
        </p:nvSpPr>
        <p:spPr/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/>
          </p:cNvSpPr>
          <p:nvPr>
            <p:ph type="sldImg" idx="2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3" sz="quarter"/>
          </p:nvPr>
        </p:nvSpPr>
        <p:spPr/>
        <p:txBody>
          <a:bodyPr/>
          <a:lstStyle/>
          <a:p>
            <a:r>
              <a:t>EXPLAINER</a:t>
            </a:r>
            <a:br/>
            <a:r>
              <a:t>This is the synthesis of the analysis into a clear recommendation.</a:t>
            </a:r>
            <a:br/>
            <a:br/>
            <a:r>
              <a:t>TRADE-OFF</a:t>
            </a:r>
            <a:br/>
            <a:r>
              <a:t>Accepts some margin sharing in exchange for scalability and reduced risk.</a:t>
            </a:r>
            <a:br/>
            <a:br/>
            <a:r>
              <a:t>IMPLEMENTATION</a:t>
            </a:r>
            <a:br/>
            <a:r>
              <a:t>Can be phased without disrupting current operation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5" sz="quarter"/>
          </p:nvPr>
        </p:nvSpPr>
        <p:spPr/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/>
          </p:cNvSpPr>
          <p:nvPr>
            <p:ph type="sldImg" idx="2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3" sz="quarter"/>
          </p:nvPr>
        </p:nvSpPr>
        <p:spPr/>
        <p:txBody>
          <a:bodyPr/>
          <a:lstStyle/>
          <a:p>
            <a:r>
              <a:t>EXPLAINER</a:t>
            </a:r>
            <a:br/>
            <a:r>
              <a:t>Execution complexity sits in commercial design rather than technology.</a:t>
            </a:r>
            <a:br/>
            <a:br/>
            <a:r>
              <a:t>CONSIDERATIONS</a:t>
            </a:r>
            <a:br/>
            <a:r>
              <a:t>- Tenant communication will affect adoption and outcomes</a:t>
            </a:r>
            <a:br/>
            <a:r>
              <a:t>- Contract design should avoid locking out future flexibility option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5" sz="quarter"/>
          </p:nvPr>
        </p:nvSpPr>
        <p:spPr/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/>
          </p:cNvSpPr>
          <p:nvPr>
            <p:ph type="sldImg" idx="2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3" sz="quarter"/>
          </p:nvPr>
        </p:nvSpPr>
        <p:spPr/>
        <p:txBody>
          <a:bodyPr/>
          <a:lstStyle/>
          <a:p>
            <a:r>
              <a:t>EXPLAINER</a:t>
            </a:r>
            <a:br/>
            <a:r>
              <a:t>This sets up the next phase of analysis required to move from strategy to quantified business case.</a:t>
            </a:r>
            <a:br/>
            <a:br/>
            <a:r>
              <a:t>NEXT STEP</a:t>
            </a:r>
            <a:br/>
            <a:r>
              <a:t>Develop a portfolio model to compare value across monetisation options.</a:t>
            </a:r>
            <a:br/>
            <a:br/>
            <a:r>
              <a:t>OPEN QUESTIONS</a:t>
            </a:r>
            <a:br/>
            <a:r>
              <a:t>- How constrained are existing financing agreements?</a:t>
            </a:r>
            <a:br/>
            <a:r>
              <a:t>- How heterogeneous is the portfolio across housing associations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5" sz="quarter"/>
          </p:nvPr>
        </p:nvSpPr>
        <p:spPr/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/>
          </p:cNvSpPr>
          <p:nvPr>
            <p:ph type="sldImg" idx="2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3" sz="quarter"/>
          </p:nvPr>
        </p:nvSpPr>
        <p:spPr/>
        <p:txBody>
          <a:bodyPr/>
          <a:lstStyle/>
          <a:p>
            <a:r>
              <a:t>EXPLAINER</a:t>
            </a:r>
            <a:br/>
            <a:r>
              <a:t>This slide provides the full answer in compressed form. It should stand alone for time-constrained executives.</a:t>
            </a:r>
            <a:br/>
            <a:br/>
            <a:r>
              <a:t>DELIVERY</a:t>
            </a:r>
            <a:br/>
            <a:r>
              <a:t>Emphasise that the recommendation is not about regulatory feasibility but about choosing the right business model for long-term value.</a:t>
            </a:r>
            <a:br/>
            <a:br/>
            <a:r>
              <a:t>OPEN QUESTIONS</a:t>
            </a:r>
            <a:br/>
            <a:r>
              <a:t>- Is there any strategic intent to become a retail supplier?</a:t>
            </a:r>
            <a:br/>
            <a:r>
              <a:t>- How important is owning the tenant relationship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5" sz="quarter"/>
          </p:nvPr>
        </p:nvSpPr>
        <p:spPr/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/>
          </p:cNvSpPr>
          <p:nvPr>
            <p:ph type="sldImg" idx="2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3" sz="quarter"/>
          </p:nvPr>
        </p:nvSpPr>
        <p:spPr/>
        <p:txBody>
          <a:bodyPr/>
          <a:lstStyle/>
          <a:p>
            <a:r>
              <a:t>EXPLAINER</a:t>
            </a:r>
            <a:br/>
            <a:r>
              <a:t>This reframes the discussion away from licensing mechanics and towards strategic intent.</a:t>
            </a:r>
            <a:br/>
            <a:br/>
            <a:r>
              <a:t>IMPLICATION</a:t>
            </a:r>
            <a:br/>
            <a:r>
              <a:t>Misalignment between ambition and capability is the primary source of value leakage.</a:t>
            </a:r>
            <a:br/>
            <a:br/>
            <a:r>
              <a:t>OPEN QUESTIONS</a:t>
            </a:r>
            <a:br/>
            <a:r>
              <a:t>- What return profile are investors expecting?</a:t>
            </a:r>
            <a:br/>
            <a:r>
              <a:t>- Is there appetite to build operational capability beyond asset ownership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5" sz="quarter"/>
          </p:nvPr>
        </p:nvSpPr>
        <p:spPr/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/>
          </p:cNvSpPr>
          <p:nvPr>
            <p:ph type="sldImg" idx="2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3" sz="quarter"/>
          </p:nvPr>
        </p:nvSpPr>
        <p:spPr/>
        <p:txBody>
          <a:bodyPr/>
          <a:lstStyle/>
          <a:p>
            <a:r>
              <a:t>EXPLAINER</a:t>
            </a:r>
            <a:br/>
            <a:r>
              <a:t>This defines the full landscape before narrowing to a recommendation.</a:t>
            </a:r>
            <a:br/>
            <a:br/>
            <a:r>
              <a:t>CONSIDERATIONS</a:t>
            </a:r>
            <a:br/>
            <a:r>
              <a:t>- Some models can be layered, particularly flexibility on top of partnership models</a:t>
            </a:r>
            <a:br/>
            <a:r>
              <a:t>- The market is evolving towards hybrid approaches rather than single-model strategi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5" sz="quarter"/>
          </p:nvPr>
        </p:nvSpPr>
        <p:spPr/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/>
          </p:cNvSpPr>
          <p:nvPr>
            <p:ph type="sldImg" idx="2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3" sz="quarter"/>
          </p:nvPr>
        </p:nvSpPr>
        <p:spPr/>
        <p:txBody>
          <a:bodyPr/>
          <a:lstStyle/>
          <a:p>
            <a:r>
              <a:t>EXPLAINER</a:t>
            </a:r>
            <a:br/>
            <a:r>
              <a:t>This is the anchor comparison slide and should be used to guide discussion.</a:t>
            </a:r>
            <a:br/>
            <a:br/>
            <a:r>
              <a:t>IMPLICATION</a:t>
            </a:r>
            <a:br/>
            <a:r>
              <a:t>There is no dominant model across all dimensions. The decision is a trade-off between value capture and complexity.</a:t>
            </a:r>
            <a:br/>
            <a:br/>
            <a:r>
              <a:t>OPEN QUESTIONS</a:t>
            </a:r>
            <a:br/>
            <a:r>
              <a:t>- How important is customer ownership relative to operational simplicity?</a:t>
            </a:r>
            <a:br/>
            <a:r>
              <a:t>- What level of complexity is acceptable given current capabilities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5" sz="quarter"/>
          </p:nvPr>
        </p:nvSpPr>
        <p:spPr/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/>
          </p:cNvSpPr>
          <p:nvPr>
            <p:ph type="sldImg" idx="2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3" sz="quarter"/>
          </p:nvPr>
        </p:nvSpPr>
        <p:spPr/>
        <p:txBody>
          <a:bodyPr/>
          <a:lstStyle/>
          <a:p>
            <a:r>
              <a:t>EXPLAINER</a:t>
            </a:r>
            <a:br/>
            <a:r>
              <a:t>This is the core recommended model and should be positioned clearly as the baseline approach.</a:t>
            </a:r>
            <a:br/>
            <a:br/>
            <a:r>
              <a:t>TRADE-OFF</a:t>
            </a:r>
            <a:br/>
            <a:r>
              <a:t>Margin is shared with the supplier, but this is offset by reduced risk and cost.</a:t>
            </a:r>
            <a:br/>
            <a:br/>
            <a:r>
              <a:t>CONSIDERATIONS</a:t>
            </a:r>
            <a:br/>
            <a:r>
              <a:t>- Supplier selection is critical to value capture</a:t>
            </a:r>
            <a:br/>
            <a:r>
              <a:t>- Commercial structuring determines long-term economic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5" sz="quarter"/>
          </p:nvPr>
        </p:nvSpPr>
        <p:spPr/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/>
          </p:cNvSpPr>
          <p:nvPr>
            <p:ph type="sldImg" idx="2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3" sz="quarter"/>
          </p:nvPr>
        </p:nvSpPr>
        <p:spPr/>
        <p:txBody>
          <a:bodyPr/>
          <a:lstStyle/>
          <a:p>
            <a:r>
              <a:t>EXPLAINER</a:t>
            </a:r>
            <a:br/>
            <a:r>
              <a:t>This is not a marginal increase in complexity. It fundamentally changes the organisation.</a:t>
            </a:r>
            <a:br/>
            <a:br/>
            <a:r>
              <a:t>IMPLICATION</a:t>
            </a:r>
            <a:br/>
            <a:r>
              <a:t>Only viable if there is a deliberate strategy to become a retail energy supplier.</a:t>
            </a:r>
            <a:br/>
            <a:br/>
            <a:r>
              <a:t>OPEN QUESTIONS</a:t>
            </a:r>
            <a:br/>
            <a:r>
              <a:t>- Is there a clear strategic rationale for owning the full customer relationship?</a:t>
            </a:r>
            <a:br/>
            <a:r>
              <a:t>- Are investors aligned to increased risk exposure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5" sz="quarter"/>
          </p:nvPr>
        </p:nvSpPr>
        <p:spPr/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/>
          </p:cNvSpPr>
          <p:nvPr>
            <p:ph type="sldImg" idx="2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3" sz="quarter"/>
          </p:nvPr>
        </p:nvSpPr>
        <p:spPr/>
        <p:txBody>
          <a:bodyPr/>
          <a:lstStyle/>
          <a:p>
            <a:r>
              <a:t>EXPLAINER</a:t>
            </a:r>
            <a:br/>
            <a:r>
              <a:t>This is the default position for many portfolios but should be treated as a baseline only.</a:t>
            </a:r>
            <a:br/>
            <a:br/>
            <a:r>
              <a:t>IMPLICATION</a:t>
            </a:r>
            <a:br/>
            <a:r>
              <a:t>Remaining in this model limits long-term value creation potential.</a:t>
            </a:r>
            <a:br/>
            <a:br/>
            <a:r>
              <a:t>CONSIDERATIONS</a:t>
            </a:r>
            <a:br/>
            <a:r>
              <a:t>- May still be appropriate for early-stage or small portfolio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5" sz="quarter"/>
          </p:nvPr>
        </p:nvSpPr>
        <p:spPr/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/>
          </p:cNvSpPr>
          <p:nvPr>
            <p:ph type="sldImg" idx="2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3" sz="quarter"/>
          </p:nvPr>
        </p:nvSpPr>
        <p:spPr/>
        <p:txBody>
          <a:bodyPr/>
          <a:lstStyle/>
          <a:p>
            <a:r>
              <a:t>EXPLAINER</a:t>
            </a:r>
            <a:br/>
            <a:r>
              <a:t>This introduces a forward-looking value layer beyond generation.</a:t>
            </a:r>
            <a:br/>
            <a:br/>
            <a:r>
              <a:t>IMPLICATION</a:t>
            </a:r>
            <a:br/>
            <a:r>
              <a:t>Decisions taken today should not constrain future flexibility participation.</a:t>
            </a:r>
            <a:br/>
            <a:br/>
            <a:r>
              <a:t>CONSIDERATIONS</a:t>
            </a:r>
            <a:br/>
            <a:r>
              <a:t>- Requires data visibility and optimisation capability</a:t>
            </a:r>
            <a:br/>
            <a:r>
              <a:t>- May require partnerships with aggregators or platform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5" sz="quarter"/>
          </p:nvPr>
        </p:nvSpPr>
        <p:spPr/>
      </p:sp>
    </p:spTree>
  </p:cSld>
  <p:clrMapOvr>
    <a:masterClrMapping/>
  </p:clrMapOvr>
</p:notes>
</file>

<file path=ppt/slideLayouts/_rels/slideLayout1.xml.rels><?xml version='1.0' encoding='UTF-8' standalone='yes'?>
<Relationships xmlns="http://schemas.openxmlformats.org/package/2006/relationships"><Relationship Id="rId1" Type="http://schemas.openxmlformats.org/officeDocument/2006/relationships/tags" Target="../tags/tag3.xml"/><Relationship Id="rId2" Type="http://schemas.openxmlformats.org/officeDocument/2006/relationships/slideMaster" Target="../slideMasters/slideMaster1.xml"/><Relationship Id="rId3" Type="http://schemas.openxmlformats.org/officeDocument/2006/relationships/image" Target="../media/image3.jpeg"/><Relationship Id="rId4" Type="http://schemas.openxmlformats.org/officeDocument/2006/relationships/oleObject" Target="../embeddings/oleObject2.bin"/><Relationship Id="rId5" Type="http://schemas.openxmlformats.org/officeDocument/2006/relationships/image" Target="../media/image4.emf"/></Relationships>
</file>

<file path=ppt/slideLayouts/_rels/slideLayout10.xml.rels><?xml version='1.0' encoding='UTF-8' standalone='yes'?>
<Relationships xmlns="http://schemas.openxmlformats.org/package/2006/relationships"><Relationship Id="rId1" Type="http://schemas.openxmlformats.org/officeDocument/2006/relationships/tags" Target="../tags/tag12.xml"/><Relationship Id="rId2" Type="http://schemas.openxmlformats.org/officeDocument/2006/relationships/slideMaster" Target="../slideMasters/slideMaster2.xml"/><Relationship Id="rId3" Type="http://schemas.openxmlformats.org/officeDocument/2006/relationships/oleObject" Target="../embeddings/oleObject11.bin"/><Relationship Id="rId4" Type="http://schemas.openxmlformats.org/officeDocument/2006/relationships/image" Target="../media/image14.emf"/></Relationships>
</file>

<file path=ppt/slideLayouts/_rels/slideLayout11.xml.rels><?xml version='1.0' encoding='UTF-8' standalone='yes'?>
<Relationships xmlns="http://schemas.openxmlformats.org/package/2006/relationships"><Relationship Id="rId1" Type="http://schemas.openxmlformats.org/officeDocument/2006/relationships/tags" Target="../tags/tag13.xml"/><Relationship Id="rId2" Type="http://schemas.openxmlformats.org/officeDocument/2006/relationships/slideMaster" Target="../slideMasters/slideMaster2.xml"/><Relationship Id="rId3" Type="http://schemas.openxmlformats.org/officeDocument/2006/relationships/oleObject" Target="../embeddings/oleObject12.bin"/><Relationship Id="rId4" Type="http://schemas.openxmlformats.org/officeDocument/2006/relationships/image" Target="../media/image15.emf"/></Relationships>
</file>

<file path=ppt/slideLayouts/_rels/slideLayout12.xml.rels><?xml version='1.0' encoding='UTF-8' standalone='yes'?>
<Relationships xmlns="http://schemas.openxmlformats.org/package/2006/relationships"><Relationship Id="rId1" Type="http://schemas.openxmlformats.org/officeDocument/2006/relationships/tags" Target="../tags/tag14.xml"/><Relationship Id="rId2" Type="http://schemas.openxmlformats.org/officeDocument/2006/relationships/slideMaster" Target="../slideMasters/slideMaster2.xml"/><Relationship Id="rId3" Type="http://schemas.openxmlformats.org/officeDocument/2006/relationships/oleObject" Target="../embeddings/oleObject13.bin"/><Relationship Id="rId4" Type="http://schemas.openxmlformats.org/officeDocument/2006/relationships/image" Target="../media/image16.emf"/></Relationships>
</file>

<file path=ppt/slideLayouts/_rels/slideLayout13.xml.rels><?xml version='1.0' encoding='UTF-8' standalone='yes'?>
<Relationships xmlns="http://schemas.openxmlformats.org/package/2006/relationships"><Relationship Id="rId1" Type="http://schemas.openxmlformats.org/officeDocument/2006/relationships/tags" Target="../tags/tag15.xml"/><Relationship Id="rId2" Type="http://schemas.openxmlformats.org/officeDocument/2006/relationships/slideMaster" Target="../slideMasters/slideMaster2.xml"/><Relationship Id="rId3" Type="http://schemas.openxmlformats.org/officeDocument/2006/relationships/oleObject" Target="../embeddings/oleObject8.bin"/><Relationship Id="rId4" Type="http://schemas.openxmlformats.org/officeDocument/2006/relationships/image" Target="../media/image11.emf"/></Relationships>
</file>

<file path=ppt/slideLayouts/_rels/slideLayout14.xml.rels><?xml version='1.0' encoding='UTF-8' standalone='yes'?>
<Relationships xmlns="http://schemas.openxmlformats.org/package/2006/relationships"><Relationship Id="rId1" Type="http://schemas.openxmlformats.org/officeDocument/2006/relationships/tags" Target="../tags/tag16.xml"/><Relationship Id="rId2" Type="http://schemas.openxmlformats.org/officeDocument/2006/relationships/slideMaster" Target="../slideMasters/slideMaster2.xml"/><Relationship Id="rId3" Type="http://schemas.openxmlformats.org/officeDocument/2006/relationships/oleObject" Target="../embeddings/oleObject14.bin"/><Relationship Id="rId4" Type="http://schemas.openxmlformats.org/officeDocument/2006/relationships/image" Target="../media/image17.emf"/></Relationships>
</file>

<file path=ppt/slideLayouts/_rels/slideLayout15.xml.rels><?xml version='1.0' encoding='UTF-8' standalone='yes'?>
<Relationships xmlns="http://schemas.openxmlformats.org/package/2006/relationships"><Relationship Id="rId1" Type="http://schemas.openxmlformats.org/officeDocument/2006/relationships/tags" Target="../tags/tag17.xml"/><Relationship Id="rId2" Type="http://schemas.openxmlformats.org/officeDocument/2006/relationships/slideMaster" Target="../slideMasters/slideMaster2.xml"/><Relationship Id="rId3" Type="http://schemas.openxmlformats.org/officeDocument/2006/relationships/oleObject" Target="../embeddings/oleObject15.bin"/><Relationship Id="rId4" Type="http://schemas.openxmlformats.org/officeDocument/2006/relationships/image" Target="../media/image18.emf"/></Relationships>
</file>

<file path=ppt/slideLayouts/_rels/slideLayout16.xml.rels><?xml version='1.0' encoding='UTF-8' standalone='yes'?>
<Relationships xmlns="http://schemas.openxmlformats.org/package/2006/relationships"><Relationship Id="rId1" Type="http://schemas.openxmlformats.org/officeDocument/2006/relationships/tags" Target="../tags/tag18.xml"/><Relationship Id="rId2" Type="http://schemas.openxmlformats.org/officeDocument/2006/relationships/slideMaster" Target="../slideMasters/slideMaster2.xml"/><Relationship Id="rId3" Type="http://schemas.openxmlformats.org/officeDocument/2006/relationships/oleObject" Target="../embeddings/oleObject16.bin"/><Relationship Id="rId4" Type="http://schemas.openxmlformats.org/officeDocument/2006/relationships/image" Target="../media/image19.emf"/></Relationships>
</file>

<file path=ppt/slideLayouts/_rels/slideLayout17.xml.rels><?xml version='1.0' encoding='UTF-8' standalone='yes'?>
<Relationships xmlns="http://schemas.openxmlformats.org/package/2006/relationships"><Relationship Id="rId1" Type="http://schemas.openxmlformats.org/officeDocument/2006/relationships/tags" Target="../tags/tag19.xml"/><Relationship Id="rId2" Type="http://schemas.openxmlformats.org/officeDocument/2006/relationships/slideMaster" Target="../slideMasters/slideMaster2.xml"/><Relationship Id="rId3" Type="http://schemas.openxmlformats.org/officeDocument/2006/relationships/oleObject" Target="../embeddings/oleObject17.bin"/><Relationship Id="rId4" Type="http://schemas.openxmlformats.org/officeDocument/2006/relationships/image" Target="../media/image20.emf"/></Relationships>
</file>

<file path=ppt/slideLayouts/_rels/slideLayout18.xml.rels><?xml version='1.0' encoding='UTF-8' standalone='yes'?>
<Relationships xmlns="http://schemas.openxmlformats.org/package/2006/relationships"><Relationship Id="rId1" Type="http://schemas.openxmlformats.org/officeDocument/2006/relationships/tags" Target="../tags/tag20.xml"/><Relationship Id="rId2" Type="http://schemas.openxmlformats.org/officeDocument/2006/relationships/slideMaster" Target="../slideMasters/slideMaster2.xml"/><Relationship Id="rId3" Type="http://schemas.openxmlformats.org/officeDocument/2006/relationships/oleObject" Target="../embeddings/oleObject18.bin"/><Relationship Id="rId4" Type="http://schemas.openxmlformats.org/officeDocument/2006/relationships/image" Target="../media/image21.emf"/></Relationships>
</file>

<file path=ppt/slideLayouts/_rels/slideLayout19.xml.rels><?xml version='1.0' encoding='UTF-8' standalone='yes'?>
<Relationships xmlns="http://schemas.openxmlformats.org/package/2006/relationships"><Relationship Id="rId1" Type="http://schemas.openxmlformats.org/officeDocument/2006/relationships/tags" Target="../tags/tag21.xml"/><Relationship Id="rId2" Type="http://schemas.openxmlformats.org/officeDocument/2006/relationships/slideMaster" Target="../slideMasters/slideMaster2.xml"/><Relationship Id="rId3" Type="http://schemas.openxmlformats.org/officeDocument/2006/relationships/oleObject" Target="../embeddings/oleObject19.bin"/><Relationship Id="rId4" Type="http://schemas.openxmlformats.org/officeDocument/2006/relationships/image" Target="../media/image22.emf"/></Relationships>
</file>

<file path=ppt/slideLayouts/_rels/slideLayout2.xml.rels><?xml version='1.0' encoding='UTF-8' standalone='yes'?>
<Relationships xmlns="http://schemas.openxmlformats.org/package/2006/relationships"><Relationship Id="rId1" Type="http://schemas.openxmlformats.org/officeDocument/2006/relationships/tags" Target="../tags/tag4.xml"/><Relationship Id="rId2" Type="http://schemas.openxmlformats.org/officeDocument/2006/relationships/slideMaster" Target="../slideMasters/slideMaster1.xml"/><Relationship Id="rId3" Type="http://schemas.openxmlformats.org/officeDocument/2006/relationships/image" Target="../media/image5.jpeg"/><Relationship Id="rId4" Type="http://schemas.openxmlformats.org/officeDocument/2006/relationships/oleObject" Target="../embeddings/oleObject3.bin"/><Relationship Id="rId5" Type="http://schemas.openxmlformats.org/officeDocument/2006/relationships/image" Target="../media/image4.emf"/></Relationships>
</file>

<file path=ppt/slideLayouts/_rels/slideLayout20.xml.rels><?xml version='1.0' encoding='UTF-8' standalone='yes'?>
<Relationships xmlns="http://schemas.openxmlformats.org/package/2006/relationships"><Relationship Id="rId1" Type="http://schemas.openxmlformats.org/officeDocument/2006/relationships/tags" Target="../tags/tag22.xml"/><Relationship Id="rId2" Type="http://schemas.openxmlformats.org/officeDocument/2006/relationships/slideMaster" Target="../slideMasters/slideMaster2.xml"/><Relationship Id="rId3" Type="http://schemas.openxmlformats.org/officeDocument/2006/relationships/oleObject" Target="../embeddings/oleObject20.bin"/><Relationship Id="rId4" Type="http://schemas.openxmlformats.org/officeDocument/2006/relationships/image" Target="../media/image23.emf"/></Relationships>
</file>

<file path=ppt/slideLayouts/_rels/slideLayout21.xml.rels><?xml version='1.0' encoding='UTF-8' standalone='yes'?>
<Relationships xmlns="http://schemas.openxmlformats.org/package/2006/relationships"><Relationship Id="rId1" Type="http://schemas.openxmlformats.org/officeDocument/2006/relationships/tags" Target="../tags/tag23.xml"/><Relationship Id="rId2" Type="http://schemas.openxmlformats.org/officeDocument/2006/relationships/slideMaster" Target="../slideMasters/slideMaster2.xml"/><Relationship Id="rId3" Type="http://schemas.openxmlformats.org/officeDocument/2006/relationships/oleObject" Target="../embeddings/oleObject21.bin"/><Relationship Id="rId4" Type="http://schemas.openxmlformats.org/officeDocument/2006/relationships/image" Target="../media/image24.emf"/></Relationships>
</file>

<file path=ppt/slideLayouts/_rels/slideLayout22.xml.rels><?xml version='1.0' encoding='UTF-8' standalone='yes'?>
<Relationships xmlns="http://schemas.openxmlformats.org/package/2006/relationships"><Relationship Id="rId1" Type="http://schemas.openxmlformats.org/officeDocument/2006/relationships/tags" Target="../tags/tag24.xml"/><Relationship Id="rId2" Type="http://schemas.openxmlformats.org/officeDocument/2006/relationships/slideMaster" Target="../slideMasters/slideMaster2.xml"/><Relationship Id="rId3" Type="http://schemas.openxmlformats.org/officeDocument/2006/relationships/oleObject" Target="../embeddings/oleObject22.bin"/><Relationship Id="rId4" Type="http://schemas.openxmlformats.org/officeDocument/2006/relationships/image" Target="../media/image25.emf"/></Relationships>
</file>

<file path=ppt/slideLayouts/_rels/slideLayout23.xml.rels><?xml version='1.0' encoding='UTF-8' standalone='yes'?>
<Relationships xmlns="http://schemas.openxmlformats.org/package/2006/relationships"><Relationship Id="rId1" Type="http://schemas.openxmlformats.org/officeDocument/2006/relationships/tags" Target="../tags/tag25.xml"/><Relationship Id="rId2" Type="http://schemas.openxmlformats.org/officeDocument/2006/relationships/slideMaster" Target="../slideMasters/slideMaster2.xml"/><Relationship Id="rId3" Type="http://schemas.openxmlformats.org/officeDocument/2006/relationships/oleObject" Target="../embeddings/oleObject8.bin"/><Relationship Id="rId4" Type="http://schemas.openxmlformats.org/officeDocument/2006/relationships/image" Target="../media/image11.emf"/></Relationships>
</file>

<file path=ppt/slideLayouts/_rels/slideLayout24.xml.rels><?xml version='1.0' encoding='UTF-8' standalone='yes'?>
<Relationships xmlns="http://schemas.openxmlformats.org/package/2006/relationships"><Relationship Id="rId1" Type="http://schemas.openxmlformats.org/officeDocument/2006/relationships/tags" Target="../tags/tag26.xml"/><Relationship Id="rId2" Type="http://schemas.openxmlformats.org/officeDocument/2006/relationships/slideMaster" Target="../slideMasters/slideMaster2.xml"/><Relationship Id="rId3" Type="http://schemas.openxmlformats.org/officeDocument/2006/relationships/oleObject" Target="../embeddings/oleObject8.bin"/><Relationship Id="rId4" Type="http://schemas.openxmlformats.org/officeDocument/2006/relationships/image" Target="../media/image11.emf"/></Relationships>
</file>

<file path=ppt/slideLayouts/_rels/slideLayout25.xml.rels><?xml version='1.0' encoding='UTF-8' standalone='yes'?>
<Relationships xmlns="http://schemas.openxmlformats.org/package/2006/relationships"><Relationship Id="rId1" Type="http://schemas.openxmlformats.org/officeDocument/2006/relationships/tags" Target="../tags/tag27.xml"/><Relationship Id="rId2" Type="http://schemas.openxmlformats.org/officeDocument/2006/relationships/slideMaster" Target="../slideMasters/slideMaster2.xml"/><Relationship Id="rId3" Type="http://schemas.openxmlformats.org/officeDocument/2006/relationships/oleObject" Target="../embeddings/oleObject23.bin"/><Relationship Id="rId4" Type="http://schemas.openxmlformats.org/officeDocument/2006/relationships/image" Target="../media/image26.emf"/><Relationship Id="rId5" Type="http://schemas.openxmlformats.org/officeDocument/2006/relationships/image" Target="../media/image5.jpeg"/></Relationships>
</file>

<file path=ppt/slideLayouts/_rels/slideLayout26.xml.rels><?xml version='1.0' encoding='UTF-8' standalone='yes'?>
<Relationships xmlns="http://schemas.openxmlformats.org/package/2006/relationships"><Relationship Id="rId1" Type="http://schemas.openxmlformats.org/officeDocument/2006/relationships/tags" Target="../tags/tag28.xml"/><Relationship Id="rId2" Type="http://schemas.openxmlformats.org/officeDocument/2006/relationships/slideMaster" Target="../slideMasters/slideMaster2.xml"/><Relationship Id="rId3" Type="http://schemas.openxmlformats.org/officeDocument/2006/relationships/oleObject" Target="../embeddings/oleObject24.bin"/><Relationship Id="rId4" Type="http://schemas.openxmlformats.org/officeDocument/2006/relationships/image" Target="../media/image27.emf"/><Relationship Id="rId5" Type="http://schemas.openxmlformats.org/officeDocument/2006/relationships/image" Target="../media/image28.svg"/></Relationships>
</file>

<file path=ppt/slideLayouts/_rels/slideLayout27.xml.rels><?xml version='1.0' encoding='UTF-8' standalone='yes'?>
<Relationships xmlns="http://schemas.openxmlformats.org/package/2006/relationships"><Relationship Id="rId1" Type="http://schemas.openxmlformats.org/officeDocument/2006/relationships/tags" Target="../tags/tag29.xml"/><Relationship Id="rId2" Type="http://schemas.openxmlformats.org/officeDocument/2006/relationships/slideMaster" Target="../slideMasters/slideMaster2.xml"/><Relationship Id="rId3" Type="http://schemas.openxmlformats.org/officeDocument/2006/relationships/oleObject" Target="../embeddings/oleObject25.bin"/><Relationship Id="rId4" Type="http://schemas.openxmlformats.org/officeDocument/2006/relationships/image" Target="../media/image29.emf"/><Relationship Id="rId5" Type="http://schemas.openxmlformats.org/officeDocument/2006/relationships/image" Target="../media/image28.svg"/></Relationships>
</file>

<file path=ppt/slideLayouts/_rels/slideLayout28.xml.rels><?xml version='1.0' encoding='UTF-8' standalone='yes'?>
<Relationships xmlns="http://schemas.openxmlformats.org/package/2006/relationships"><Relationship Id="rId1" Type="http://schemas.openxmlformats.org/officeDocument/2006/relationships/tags" Target="../tags/tag30.xml"/><Relationship Id="rId2" Type="http://schemas.openxmlformats.org/officeDocument/2006/relationships/slideMaster" Target="../slideMasters/slideMaster2.xml"/><Relationship Id="rId3" Type="http://schemas.openxmlformats.org/officeDocument/2006/relationships/oleObject" Target="../embeddings/oleObject18.bin"/><Relationship Id="rId4" Type="http://schemas.openxmlformats.org/officeDocument/2006/relationships/image" Target="../media/image21.emf"/></Relationships>
</file>

<file path=ppt/slideLayouts/_rels/slideLayout29.xml.rels><?xml version='1.0' encoding='UTF-8' standalone='yes'?>
<Relationships xmlns="http://schemas.openxmlformats.org/package/2006/relationships"><Relationship Id="rId1" Type="http://schemas.openxmlformats.org/officeDocument/2006/relationships/tags" Target="../tags/tag31.xml"/><Relationship Id="rId2" Type="http://schemas.openxmlformats.org/officeDocument/2006/relationships/slideMaster" Target="../slideMasters/slideMaster2.xml"/><Relationship Id="rId3" Type="http://schemas.openxmlformats.org/officeDocument/2006/relationships/oleObject" Target="../embeddings/oleObject10.bin"/><Relationship Id="rId4" Type="http://schemas.openxmlformats.org/officeDocument/2006/relationships/image" Target="../media/image13.emf"/></Relationships>
</file>

<file path=ppt/slideLayouts/_rels/slideLayout3.xml.rels><?xml version='1.0' encoding='UTF-8' standalone='yes'?>
<Relationships xmlns="http://schemas.openxmlformats.org/package/2006/relationships"><Relationship Id="rId1" Type="http://schemas.openxmlformats.org/officeDocument/2006/relationships/tags" Target="../tags/tag5.xml"/><Relationship Id="rId2" Type="http://schemas.openxmlformats.org/officeDocument/2006/relationships/slideMaster" Target="../slideMasters/slideMaster1.xml"/><Relationship Id="rId3" Type="http://schemas.openxmlformats.org/officeDocument/2006/relationships/image" Target="../media/image6.jpeg"/><Relationship Id="rId4" Type="http://schemas.openxmlformats.org/officeDocument/2006/relationships/oleObject" Target="../embeddings/oleObject4.bin"/><Relationship Id="rId5" Type="http://schemas.openxmlformats.org/officeDocument/2006/relationships/image" Target="../media/image4.emf"/></Relationships>
</file>

<file path=ppt/slideLayouts/_rels/slideLayout30.xml.rels><?xml version='1.0' encoding='UTF-8' standalone='yes'?>
<Relationships xmlns="http://schemas.openxmlformats.org/package/2006/relationships"><Relationship Id="rId1" Type="http://schemas.openxmlformats.org/officeDocument/2006/relationships/tags" Target="../tags/tag33.xml"/><Relationship Id="rId2" Type="http://schemas.openxmlformats.org/officeDocument/2006/relationships/slideMaster" Target="../slideMasters/slideMaster3.xml"/><Relationship Id="rId3" Type="http://schemas.openxmlformats.org/officeDocument/2006/relationships/oleObject" Target="../embeddings/oleObject27.bin"/><Relationship Id="rId4" Type="http://schemas.openxmlformats.org/officeDocument/2006/relationships/image" Target="../media/image31.emf"/></Relationships>
</file>

<file path=ppt/slideLayouts/_rels/slideLayout31.xml.rels><?xml version='1.0' encoding='UTF-8' standalone='yes'?>
<Relationships xmlns="http://schemas.openxmlformats.org/package/2006/relationships"><Relationship Id="rId1" Type="http://schemas.openxmlformats.org/officeDocument/2006/relationships/tags" Target="../tags/tag34.xml"/><Relationship Id="rId2" Type="http://schemas.openxmlformats.org/officeDocument/2006/relationships/slideMaster" Target="../slideMasters/slideMaster3.xml"/><Relationship Id="rId3" Type="http://schemas.openxmlformats.org/officeDocument/2006/relationships/oleObject" Target="../embeddings/oleObject28.bin"/><Relationship Id="rId4" Type="http://schemas.openxmlformats.org/officeDocument/2006/relationships/image" Target="../media/image32.emf"/></Relationships>
</file>

<file path=ppt/slideLayouts/_rels/slideLayout32.xml.rels><?xml version='1.0' encoding='UTF-8' standalone='yes'?>
<Relationships xmlns="http://schemas.openxmlformats.org/package/2006/relationships"><Relationship Id="rId1" Type="http://schemas.openxmlformats.org/officeDocument/2006/relationships/tags" Target="../tags/tag35.xml"/><Relationship Id="rId2" Type="http://schemas.openxmlformats.org/officeDocument/2006/relationships/slideMaster" Target="../slideMasters/slideMaster3.xml"/><Relationship Id="rId3" Type="http://schemas.openxmlformats.org/officeDocument/2006/relationships/oleObject" Target="../embeddings/oleObject29.bin"/><Relationship Id="rId4" Type="http://schemas.openxmlformats.org/officeDocument/2006/relationships/image" Target="../media/image33.emf"/><Relationship Id="rId5" Type="http://schemas.openxmlformats.org/officeDocument/2006/relationships/image" Target="../media/image28.svg"/></Relationships>
</file>

<file path=ppt/slideLayouts/_rels/slideLayout33.xml.rels><?xml version='1.0' encoding='UTF-8' standalone='yes'?>
<Relationships xmlns="http://schemas.openxmlformats.org/package/2006/relationships"><Relationship Id="rId1" Type="http://schemas.openxmlformats.org/officeDocument/2006/relationships/tags" Target="../tags/tag36.xml"/><Relationship Id="rId2" Type="http://schemas.openxmlformats.org/officeDocument/2006/relationships/slideMaster" Target="../slideMasters/slideMaster3.xml"/><Relationship Id="rId3" Type="http://schemas.openxmlformats.org/officeDocument/2006/relationships/oleObject" Target="../embeddings/oleObject30.bin"/><Relationship Id="rId4" Type="http://schemas.openxmlformats.org/officeDocument/2006/relationships/image" Target="../media/image34.emf"/><Relationship Id="rId5" Type="http://schemas.openxmlformats.org/officeDocument/2006/relationships/image" Target="../media/image28.svg"/></Relationships>
</file>

<file path=ppt/slideLayouts/_rels/slideLayout34.xml.rels><?xml version='1.0' encoding='UTF-8' standalone='yes'?>
<Relationships xmlns="http://schemas.openxmlformats.org/package/2006/relationships"><Relationship Id="rId1" Type="http://schemas.openxmlformats.org/officeDocument/2006/relationships/tags" Target="../tags/tag37.xml"/><Relationship Id="rId2" Type="http://schemas.openxmlformats.org/officeDocument/2006/relationships/slideMaster" Target="../slideMasters/slideMaster3.xml"/><Relationship Id="rId3" Type="http://schemas.openxmlformats.org/officeDocument/2006/relationships/oleObject" Target="../embeddings/oleObject31.bin"/><Relationship Id="rId4" Type="http://schemas.openxmlformats.org/officeDocument/2006/relationships/image" Target="../media/image35.emf"/><Relationship Id="rId5" Type="http://schemas.openxmlformats.org/officeDocument/2006/relationships/image" Target="../media/image28.svg"/></Relationships>
</file>

<file path=ppt/slideLayouts/_rels/slideLayout35.xml.rels><?xml version='1.0' encoding='UTF-8' standalone='yes'?>
<Relationships xmlns="http://schemas.openxmlformats.org/package/2006/relationships"><Relationship Id="rId1" Type="http://schemas.openxmlformats.org/officeDocument/2006/relationships/tags" Target="../tags/tag38.xml"/><Relationship Id="rId2" Type="http://schemas.openxmlformats.org/officeDocument/2006/relationships/slideMaster" Target="../slideMasters/slideMaster3.xml"/><Relationship Id="rId3" Type="http://schemas.openxmlformats.org/officeDocument/2006/relationships/oleObject" Target="../embeddings/oleObject32.bin"/><Relationship Id="rId4" Type="http://schemas.openxmlformats.org/officeDocument/2006/relationships/image" Target="../media/image36.emf"/><Relationship Id="rId5" Type="http://schemas.openxmlformats.org/officeDocument/2006/relationships/image" Target="../media/image28.svg"/></Relationships>
</file>

<file path=ppt/slideLayouts/_rels/slideLayout36.xml.rels><?xml version='1.0' encoding='UTF-8' standalone='yes'?>
<Relationships xmlns="http://schemas.openxmlformats.org/package/2006/relationships"><Relationship Id="rId1" Type="http://schemas.openxmlformats.org/officeDocument/2006/relationships/tags" Target="../tags/tag40.xml"/><Relationship Id="rId2" Type="http://schemas.openxmlformats.org/officeDocument/2006/relationships/slideMaster" Target="../slideMasters/slideMaster4.xml"/><Relationship Id="rId3" Type="http://schemas.openxmlformats.org/officeDocument/2006/relationships/oleObject" Target="../embeddings/oleObject34.bin"/><Relationship Id="rId4" Type="http://schemas.openxmlformats.org/officeDocument/2006/relationships/image" Target="../media/image38.emf"/><Relationship Id="rId5" Type="http://schemas.openxmlformats.org/officeDocument/2006/relationships/image" Target="../media/image9.svg"/></Relationships>
</file>

<file path=ppt/slideLayouts/_rels/slideLayout3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9.svg"/></Relationships>
</file>

<file path=ppt/slideLayouts/_rels/slideLayout3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39.png"/></Relationships>
</file>

<file path=ppt/slideLayouts/_rels/slideLayout3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40.svg"/></Relationships>
</file>

<file path=ppt/slideLayouts/_rels/slideLayout4.xml.rels><?xml version='1.0' encoding='UTF-8' standalone='yes'?>
<Relationships xmlns="http://schemas.openxmlformats.org/package/2006/relationships"><Relationship Id="rId1" Type="http://schemas.openxmlformats.org/officeDocument/2006/relationships/tags" Target="../tags/tag6.xml"/><Relationship Id="rId2" Type="http://schemas.openxmlformats.org/officeDocument/2006/relationships/slideMaster" Target="../slideMasters/slideMaster1.xml"/><Relationship Id="rId3" Type="http://schemas.openxmlformats.org/officeDocument/2006/relationships/image" Target="../media/image7.jpg"/><Relationship Id="rId4" Type="http://schemas.openxmlformats.org/officeDocument/2006/relationships/oleObject" Target="../embeddings/oleObject5.bin"/><Relationship Id="rId5" Type="http://schemas.openxmlformats.org/officeDocument/2006/relationships/image" Target="../media/image4.emf"/></Relationships>
</file>

<file path=ppt/slideLayouts/_rels/slideLayout4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41.svg"/></Relationships>
</file>

<file path=ppt/slideLayouts/_rels/slideLayout5.xml.rels><?xml version='1.0' encoding='UTF-8' standalone='yes'?>
<Relationships xmlns="http://schemas.openxmlformats.org/package/2006/relationships"><Relationship Id="rId1" Type="http://schemas.openxmlformats.org/officeDocument/2006/relationships/tags" Target="../tags/tag8.xml"/><Relationship Id="rId2" Type="http://schemas.openxmlformats.org/officeDocument/2006/relationships/slideMaster" Target="../slideMasters/slideMaster2.xml"/><Relationship Id="rId3" Type="http://schemas.openxmlformats.org/officeDocument/2006/relationships/oleObject" Target="../embeddings/oleObject7.bin"/><Relationship Id="rId4" Type="http://schemas.openxmlformats.org/officeDocument/2006/relationships/image" Target="../media/image10.emf"/></Relationships>
</file>

<file path=ppt/slideLayouts/_rels/slideLayout6.xml.rels><?xml version='1.0' encoding='UTF-8' standalone='yes'?>
<Relationships xmlns="http://schemas.openxmlformats.org/package/2006/relationships"><Relationship Id="rId1" Type="http://schemas.openxmlformats.org/officeDocument/2006/relationships/tags" Target="../tags/tag9.xml"/><Relationship Id="rId2" Type="http://schemas.openxmlformats.org/officeDocument/2006/relationships/slideMaster" Target="../slideMasters/slideMaster2.xml"/><Relationship Id="rId3" Type="http://schemas.openxmlformats.org/officeDocument/2006/relationships/oleObject" Target="../embeddings/oleObject8.bin"/><Relationship Id="rId4" Type="http://schemas.openxmlformats.org/officeDocument/2006/relationships/image" Target="../media/image11.emf"/></Relationships>
</file>

<file path=ppt/slideLayouts/_rels/slideLayout7.xml.rels><?xml version='1.0' encoding='UTF-8' standalone='yes'?>
<Relationships xmlns="http://schemas.openxmlformats.org/package/2006/relationships"><Relationship Id="rId1" Type="http://schemas.openxmlformats.org/officeDocument/2006/relationships/tags" Target="../tags/tag10.xml"/><Relationship Id="rId2" Type="http://schemas.openxmlformats.org/officeDocument/2006/relationships/slideMaster" Target="../slideMasters/slideMaster2.xml"/><Relationship Id="rId3" Type="http://schemas.openxmlformats.org/officeDocument/2006/relationships/oleObject" Target="../embeddings/oleObject9.bin"/><Relationship Id="rId4" Type="http://schemas.openxmlformats.org/officeDocument/2006/relationships/image" Target="../media/image12.emf"/></Relationships>
</file>

<file path=ppt/slideLayouts/_rels/slideLayout8.xml.rels><?xml version='1.0' encoding='UTF-8' standalone='yes'?>
<Relationships xmlns="http://schemas.openxmlformats.org/package/2006/relationships"><Relationship Id="rId1" Type="http://schemas.openxmlformats.org/officeDocument/2006/relationships/tags" Target="../tags/tag11.xml"/><Relationship Id="rId2" Type="http://schemas.openxmlformats.org/officeDocument/2006/relationships/slideMaster" Target="../slideMasters/slideMaster2.xml"/><Relationship Id="rId3" Type="http://schemas.openxmlformats.org/officeDocument/2006/relationships/oleObject" Target="../embeddings/oleObject10.bin"/><Relationship Id="rId4" Type="http://schemas.openxmlformats.org/officeDocument/2006/relationships/image" Target="../media/image13.emf"/></Relationships>
</file>

<file path=ppt/slideLayouts/_rels/slideLayout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ck_title_pinwhe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child holding a pinwheel in the grass&#10;&#10;Description automatically generated">
            <a:extLst>
              <a:ext uri="{FF2B5EF4-FFF2-40B4-BE49-F238E27FC236}">
                <a16:creationId xmlns:a16="http://schemas.microsoft.com/office/drawing/2014/main" id="{CD09C6F4-ABEE-64A4-F463-7836C3270F6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83433" y="523875"/>
            <a:ext cx="9408567" cy="6334125"/>
          </a:xfrm>
          <a:prstGeom prst="rect">
            <a:avLst/>
          </a:prstGeom>
        </p:spPr>
      </p:pic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DD4F21CB-C707-B194-3AB8-BE3EAA3033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590322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D4F21CB-C707-B194-3AB8-BE3EAA3033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98488929-BBEB-5CCD-B5F7-78301D3E07B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0000" y="6019800"/>
            <a:ext cx="8338275" cy="5080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 algn="l">
              <a:lnSpc>
                <a:spcPct val="100000"/>
              </a:lnSpc>
              <a:buFontTx/>
              <a:buNone/>
              <a:defRPr b="1">
                <a:latin typeface="+mj-lt"/>
              </a:defRPr>
            </a:lvl2pPr>
            <a:lvl3pPr marL="914400" indent="0" algn="l">
              <a:lnSpc>
                <a:spcPct val="100000"/>
              </a:lnSpc>
              <a:buFontTx/>
              <a:buNone/>
              <a:defRPr b="1">
                <a:latin typeface="+mj-lt"/>
              </a:defRPr>
            </a:lvl3pPr>
            <a:lvl4pPr marL="1371600" indent="0" algn="l">
              <a:lnSpc>
                <a:spcPct val="100000"/>
              </a:lnSpc>
              <a:buFontTx/>
              <a:buNone/>
              <a:defRPr b="1">
                <a:latin typeface="+mj-lt"/>
              </a:defRPr>
            </a:lvl4pPr>
            <a:lvl5pPr marL="1828800" indent="0" algn="l">
              <a:lnSpc>
                <a:spcPct val="100000"/>
              </a:lnSpc>
              <a:buFontTx/>
              <a:buNone/>
              <a:defRPr b="1">
                <a:latin typeface="+mj-lt"/>
              </a:defRPr>
            </a:lvl5pPr>
          </a:lstStyle>
          <a:p>
            <a:pPr lvl="0"/>
            <a:r>
              <a:rPr lang="en-GB" dirty="0"/>
              <a:t>PREPARED FOR: CLIENT NAM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311AE40-2AEB-9CEC-D205-89EFDB047A7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1475" y="4852641"/>
            <a:ext cx="8326800" cy="72135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FontTx/>
              <a:buNone/>
              <a:defRPr lang="en-GB" sz="2400" b="1" dirty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>
              <a:lnSpc>
                <a:spcPct val="100000"/>
              </a:lnSpc>
              <a:spcBef>
                <a:spcPct val="0"/>
              </a:spcBef>
              <a:buNone/>
            </a:pPr>
            <a:r>
              <a:rPr lang="en-GB"/>
              <a:t>Project Title</a:t>
            </a:r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E57F75E7-34DD-C63F-74F6-E86AF1FDBB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527063"/>
            <a:ext cx="8338275" cy="1164000"/>
          </a:xfrm>
        </p:spPr>
        <p:txBody>
          <a:bodyPr vert="horz"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865681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Featur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FDB14044-B522-599C-E5A8-E85282164F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724084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DB14044-B522-599C-E5A8-E85282164F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0F743-7583-E24A-91BB-F7A1FA002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75951" y="6349428"/>
            <a:ext cx="1054848" cy="183600"/>
          </a:xfrm>
        </p:spPr>
        <p:txBody>
          <a:bodyPr/>
          <a:lstStyle/>
          <a:p>
            <a:fld id="{C6A366F5-ADD2-924A-9CC9-AAF3C608492C}" type="slidenum">
              <a:rPr lang="en-GB" smtClean="0"/>
              <a:t>‹#›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F892896-DF6C-E515-B0F1-1891294BF76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54368" y="6349428"/>
            <a:ext cx="4500562" cy="184544"/>
          </a:xfrm>
        </p:spPr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1135705-09E6-131B-9C0F-3E65A1BA870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60000" y="2769829"/>
            <a:ext cx="5556613" cy="1836737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AF6BAAA-CEB5-F7EB-B5DE-0A93BCC10C1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1476" y="1417023"/>
            <a:ext cx="5545138" cy="428211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/>
              <a:t>Column 1 Heading</a:t>
            </a:r>
          </a:p>
        </p:txBody>
      </p:sp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82D4F254-8E89-3A04-60AA-4349B680C996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285661" y="2769829"/>
            <a:ext cx="5556613" cy="1836737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74EDFEC-7B72-4184-EFB6-03EC134270E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75388" y="1417023"/>
            <a:ext cx="5545138" cy="427652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/>
              <a:t>Column 2 Heading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B5FE058-9ACB-7E7D-70AE-8D6CF789BB54}"/>
              </a:ext>
            </a:extLst>
          </p:cNvPr>
          <p:cNvCxnSpPr>
            <a:cxnSpLocks/>
          </p:cNvCxnSpPr>
          <p:nvPr/>
        </p:nvCxnSpPr>
        <p:spPr>
          <a:xfrm>
            <a:off x="447675" y="1943088"/>
            <a:ext cx="0" cy="735633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45EF3242-0268-BEDC-F8F0-0B961E9ECE6A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370510" y="330661"/>
            <a:ext cx="10153403" cy="7676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GB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F7CA67DB-034D-38EF-0469-D2FFCC45B4DD}"/>
              </a:ext>
            </a:extLst>
          </p:cNvPr>
          <p:cNvCxnSpPr>
            <a:cxnSpLocks/>
          </p:cNvCxnSpPr>
          <p:nvPr userDrawn="1"/>
        </p:nvCxnSpPr>
        <p:spPr>
          <a:xfrm>
            <a:off x="6349711" y="1943088"/>
            <a:ext cx="0" cy="735633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13D96A9-A0BE-7547-2543-F2FED81D46C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6344247"/>
            <a:ext cx="5903913" cy="18454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i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sz="1400" b="1" i="0">
                <a:latin typeface="Libre Baskerville" panose="02000000000000000000" pitchFamily="2" charset="0"/>
              </a:defRPr>
            </a:lvl2pPr>
            <a:lvl3pPr marL="914400" indent="0">
              <a:buNone/>
              <a:defRPr sz="1400" b="1" i="0">
                <a:latin typeface="Libre Baskerville" panose="02000000000000000000" pitchFamily="2" charset="0"/>
              </a:defRPr>
            </a:lvl3pPr>
            <a:lvl4pPr marL="1371600" indent="0">
              <a:buNone/>
              <a:defRPr sz="1400" b="1" i="0">
                <a:latin typeface="Libre Baskerville" panose="02000000000000000000" pitchFamily="2" charset="0"/>
              </a:defRPr>
            </a:lvl4pPr>
            <a:lvl5pPr marL="1828800" indent="0">
              <a:buNone/>
              <a:defRPr sz="1400"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PROJECT OR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7561741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162" userDrawn="1">
          <p15:clr>
            <a:srgbClr val="5ACBF0"/>
          </p15:clr>
        </p15:guide>
        <p15:guide id="3" orient="horz" pos="1230" userDrawn="1">
          <p15:clr>
            <a:srgbClr val="5ACBF0"/>
          </p15:clr>
        </p15:guide>
        <p15:guide id="4" pos="3727">
          <p15:clr>
            <a:srgbClr val="5ACBF0"/>
          </p15:clr>
        </p15:guide>
        <p15:guide id="5" pos="3953">
          <p15:clr>
            <a:srgbClr val="5ACBF0"/>
          </p15:clr>
        </p15:guide>
        <p15:guide id="6" orient="horz" pos="1684" userDrawn="1">
          <p15:clr>
            <a:srgbClr val="5ACBF0"/>
          </p15:clr>
        </p15:guide>
        <p15:guide id="7" orient="horz" pos="1752" userDrawn="1">
          <p15:clr>
            <a:srgbClr val="5ACBF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3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498B61C2-B987-DA36-373D-8E998B2FC6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0606593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8B61C2-B987-DA36-373D-8E998B2FC6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0F743-7583-E24A-91BB-F7A1FA002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75951" y="6349428"/>
            <a:ext cx="1054848" cy="183600"/>
          </a:xfrm>
        </p:spPr>
        <p:txBody>
          <a:bodyPr/>
          <a:lstStyle/>
          <a:p>
            <a:fld id="{C6A366F5-ADD2-924A-9CC9-AAF3C608492C}" type="slidenum">
              <a:rPr lang="en-GB" smtClean="0"/>
              <a:t>‹#›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F892896-DF6C-E515-B0F1-1891294BF76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54368" y="6349428"/>
            <a:ext cx="4500562" cy="184544"/>
          </a:xfrm>
        </p:spPr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1135705-09E6-131B-9C0F-3E65A1BA870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60001" y="2045911"/>
            <a:ext cx="3563938" cy="1836737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AF6BAAA-CEB5-F7EB-B5DE-0A93BCC10C1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1476" y="1417023"/>
            <a:ext cx="3563937" cy="427652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/>
              <a:t>Column 1 Heading</a:t>
            </a:r>
          </a:p>
        </p:txBody>
      </p:sp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82D4F254-8E89-3A04-60AA-4349B680C996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14734" y="2045911"/>
            <a:ext cx="3599197" cy="1836737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74EDFEC-7B72-4184-EFB6-03EC134270E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04461" y="1417023"/>
            <a:ext cx="3591764" cy="427652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/>
              <a:t>Column 2 Heading</a:t>
            </a:r>
          </a:p>
        </p:txBody>
      </p:sp>
      <p:sp>
        <p:nvSpPr>
          <p:cNvPr id="21" name="Content Placeholder 3">
            <a:extLst>
              <a:ext uri="{FF2B5EF4-FFF2-40B4-BE49-F238E27FC236}">
                <a16:creationId xmlns:a16="http://schemas.microsoft.com/office/drawing/2014/main" id="{AB3C6276-B682-81EC-1261-F8999951FFCC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8266861" y="2045911"/>
            <a:ext cx="3571311" cy="1836737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854EAD99-06C4-AA7E-A67B-00B26F31B7E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56588" y="1417023"/>
            <a:ext cx="3563936" cy="427652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/>
              <a:t>Column 3 Heading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7C947ACD-28A4-E9E8-BACB-6B9E7EBF40BB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370510" y="330661"/>
            <a:ext cx="10153403" cy="7676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D907313-1081-A718-B302-41435248B57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6344247"/>
            <a:ext cx="5903913" cy="18454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i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sz="1400" b="1" i="0">
                <a:latin typeface="Libre Baskerville" panose="02000000000000000000" pitchFamily="2" charset="0"/>
              </a:defRPr>
            </a:lvl2pPr>
            <a:lvl3pPr marL="914400" indent="0">
              <a:buNone/>
              <a:defRPr sz="1400" b="1" i="0">
                <a:latin typeface="Libre Baskerville" panose="02000000000000000000" pitchFamily="2" charset="0"/>
              </a:defRPr>
            </a:lvl3pPr>
            <a:lvl4pPr marL="1371600" indent="0">
              <a:buNone/>
              <a:defRPr sz="1400" b="1" i="0">
                <a:latin typeface="Libre Baskerville" panose="02000000000000000000" pitchFamily="2" charset="0"/>
              </a:defRPr>
            </a:lvl4pPr>
            <a:lvl5pPr marL="1828800" indent="0">
              <a:buNone/>
              <a:defRPr sz="1400"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PROJECT OR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4607531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162" userDrawn="1">
          <p15:clr>
            <a:srgbClr val="5ACBF0"/>
          </p15:clr>
        </p15:guide>
        <p15:guide id="3" orient="horz" pos="1298" userDrawn="1">
          <p15:clr>
            <a:srgbClr val="5ACBF0"/>
          </p15:clr>
        </p15:guide>
        <p15:guide id="4" pos="2593">
          <p15:clr>
            <a:srgbClr val="A4A3A4"/>
          </p15:clr>
        </p15:guide>
        <p15:guide id="5" pos="5087">
          <p15:clr>
            <a:srgbClr val="A4A3A4"/>
          </p15:clr>
        </p15:guide>
        <p15:guide id="6" pos="2479">
          <p15:clr>
            <a:srgbClr val="5ACBF0"/>
          </p15:clr>
        </p15:guide>
        <p15:guide id="7" pos="2706">
          <p15:clr>
            <a:srgbClr val="5ACBF0"/>
          </p15:clr>
        </p15:guide>
        <p15:guide id="8" pos="5201">
          <p15:clr>
            <a:srgbClr val="5ACBF0"/>
          </p15:clr>
        </p15:guide>
        <p15:guide id="9" pos="4974">
          <p15:clr>
            <a:srgbClr val="5ACBF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Featur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BD561D2-80A7-7B42-DD89-578745E79F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427502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D561D2-80A7-7B42-DD89-578745E79F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0F743-7583-E24A-91BB-F7A1FA002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75951" y="6349428"/>
            <a:ext cx="1054848" cy="183600"/>
          </a:xfrm>
        </p:spPr>
        <p:txBody>
          <a:bodyPr/>
          <a:lstStyle/>
          <a:p>
            <a:fld id="{C6A366F5-ADD2-924A-9CC9-AAF3C608492C}" type="slidenum">
              <a:rPr lang="en-GB" smtClean="0"/>
              <a:t>‹#›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F892896-DF6C-E515-B0F1-1891294BF76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54368" y="6349428"/>
            <a:ext cx="4500562" cy="184544"/>
          </a:xfrm>
        </p:spPr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1135705-09E6-131B-9C0F-3E65A1BA870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60001" y="2728259"/>
            <a:ext cx="3571312" cy="1836737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AF6BAAA-CEB5-F7EB-B5DE-0A93BCC10C1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1476" y="1417020"/>
            <a:ext cx="3563937" cy="427204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/>
              <a:t>Column 1 Heading</a:t>
            </a:r>
          </a:p>
        </p:txBody>
      </p:sp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82D4F254-8E89-3A04-60AA-4349B680C996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1953" y="2728259"/>
            <a:ext cx="3607899" cy="1836737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74EDFEC-7B72-4184-EFB6-03EC134270E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295778" y="1417020"/>
            <a:ext cx="3600448" cy="426646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/>
              <a:t>Column 2 Heading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B5FE058-9ACB-7E7D-70AE-8D6CF789BB54}"/>
              </a:ext>
            </a:extLst>
          </p:cNvPr>
          <p:cNvCxnSpPr>
            <a:cxnSpLocks/>
          </p:cNvCxnSpPr>
          <p:nvPr/>
        </p:nvCxnSpPr>
        <p:spPr>
          <a:xfrm>
            <a:off x="447675" y="1918146"/>
            <a:ext cx="0" cy="735633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F82FF03-9F6C-7756-0BB6-F5FC924EC60C}"/>
              </a:ext>
            </a:extLst>
          </p:cNvPr>
          <p:cNvCxnSpPr>
            <a:cxnSpLocks/>
          </p:cNvCxnSpPr>
          <p:nvPr/>
        </p:nvCxnSpPr>
        <p:spPr>
          <a:xfrm>
            <a:off x="4371978" y="1918146"/>
            <a:ext cx="0" cy="735633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B092633C-375F-0078-3487-1E72A061522F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8262765" y="2728259"/>
            <a:ext cx="3571310" cy="1836737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ABD0937E-1F53-C7C9-13FC-8AE70762923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56589" y="1417020"/>
            <a:ext cx="3563935" cy="426646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/>
              <a:t>Column 3 Heading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6A5AC8B1-18C9-C809-5EDA-9AD7FAD78EA1}"/>
              </a:ext>
            </a:extLst>
          </p:cNvPr>
          <p:cNvCxnSpPr>
            <a:cxnSpLocks/>
          </p:cNvCxnSpPr>
          <p:nvPr/>
        </p:nvCxnSpPr>
        <p:spPr>
          <a:xfrm>
            <a:off x="8347078" y="1918146"/>
            <a:ext cx="0" cy="735633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08C5B4DE-BB4F-45F0-0968-51FBDE8B23E7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370510" y="330661"/>
            <a:ext cx="10153403" cy="7676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01507B8-CF5D-4BD3-D1DC-7CA839C6EE2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6344247"/>
            <a:ext cx="5903913" cy="18454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i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sz="1400" b="1" i="0">
                <a:latin typeface="Libre Baskerville" panose="02000000000000000000" pitchFamily="2" charset="0"/>
              </a:defRPr>
            </a:lvl2pPr>
            <a:lvl3pPr marL="914400" indent="0">
              <a:buNone/>
              <a:defRPr sz="1400" b="1" i="0">
                <a:latin typeface="Libre Baskerville" panose="02000000000000000000" pitchFamily="2" charset="0"/>
              </a:defRPr>
            </a:lvl3pPr>
            <a:lvl4pPr marL="1371600" indent="0">
              <a:buNone/>
              <a:defRPr sz="1400" b="1" i="0">
                <a:latin typeface="Libre Baskerville" panose="02000000000000000000" pitchFamily="2" charset="0"/>
              </a:defRPr>
            </a:lvl4pPr>
            <a:lvl5pPr marL="1828800" indent="0">
              <a:buNone/>
              <a:defRPr sz="1400"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PROJECT OR SECTION TITLE</a:t>
            </a:r>
          </a:p>
        </p:txBody>
      </p:sp>
    </p:spTree>
    <p:extLst>
      <p:ext uri="{BB962C8B-B14F-4D97-AF65-F5344CB8AC3E}">
        <p14:creationId xmlns:p14="http://schemas.microsoft.com/office/powerpoint/2010/main" val="959568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162" userDrawn="1">
          <p15:clr>
            <a:srgbClr val="5ACBF0"/>
          </p15:clr>
        </p15:guide>
        <p15:guide id="3" orient="horz" pos="1207" userDrawn="1">
          <p15:clr>
            <a:srgbClr val="5ACBF0"/>
          </p15:clr>
        </p15:guide>
        <p15:guide id="4" pos="4974">
          <p15:clr>
            <a:srgbClr val="5ACBF0"/>
          </p15:clr>
        </p15:guide>
        <p15:guide id="5" pos="5087">
          <p15:clr>
            <a:srgbClr val="A4A3A4"/>
          </p15:clr>
        </p15:guide>
        <p15:guide id="6" orient="horz" pos="1661" userDrawn="1">
          <p15:clr>
            <a:srgbClr val="5ACBF0"/>
          </p15:clr>
        </p15:guide>
        <p15:guide id="7" orient="horz" pos="1729" userDrawn="1">
          <p15:clr>
            <a:srgbClr val="5ACBF0"/>
          </p15:clr>
        </p15:guide>
        <p15:guide id="8" pos="2593">
          <p15:clr>
            <a:srgbClr val="A4A3A4"/>
          </p15:clr>
        </p15:guide>
        <p15:guide id="9" pos="2706">
          <p15:clr>
            <a:srgbClr val="5ACBF0"/>
          </p15:clr>
        </p15:guide>
        <p15:guide id="10" pos="2479">
          <p15:clr>
            <a:srgbClr val="5ACBF0"/>
          </p15:clr>
        </p15:guide>
        <p15:guide id="11" pos="5201">
          <p15:clr>
            <a:srgbClr val="5ACBF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4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67745054-492B-C6CF-C80C-31648E6AE4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885241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7745054-492B-C6CF-C80C-31648E6AE4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0F743-7583-E24A-91BB-F7A1FA002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75951" y="6349428"/>
            <a:ext cx="1054848" cy="183600"/>
          </a:xfrm>
        </p:spPr>
        <p:txBody>
          <a:bodyPr/>
          <a:lstStyle/>
          <a:p>
            <a:fld id="{C6A366F5-ADD2-924A-9CC9-AAF3C608492C}" type="slidenum">
              <a:rPr lang="en-GB" smtClean="0"/>
              <a:t>‹#›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F892896-DF6C-E515-B0F1-1891294BF76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54368" y="6349428"/>
            <a:ext cx="4500562" cy="184544"/>
          </a:xfrm>
        </p:spPr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1135705-09E6-131B-9C0F-3E65A1BA870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60002" y="2045872"/>
            <a:ext cx="2603862" cy="1836737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AF6BAAA-CEB5-F7EB-B5DE-0A93BCC10C1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1477" y="1417023"/>
            <a:ext cx="2603862" cy="42765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/>
              <a:t>Column 1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4C551A70-39BD-D693-A254-FC6B2382A40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339376" y="2045872"/>
            <a:ext cx="2603862" cy="1836737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745B3150-E68E-605A-C0EF-DFD6B26A296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50851" y="1417023"/>
            <a:ext cx="2603862" cy="42765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/>
              <a:t>Column 2</a:t>
            </a:r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D622BCDB-F17E-AC32-A00D-1EF7899BDC4C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275388" y="2045872"/>
            <a:ext cx="2603862" cy="1836737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A3630320-8FE2-2089-94D0-3C16C8AFF7D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86863" y="1417023"/>
            <a:ext cx="2603862" cy="42765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/>
              <a:t>Column 3</a:t>
            </a:r>
          </a:p>
        </p:txBody>
      </p:sp>
      <p:sp>
        <p:nvSpPr>
          <p:cNvPr id="27" name="Content Placeholder 3">
            <a:extLst>
              <a:ext uri="{FF2B5EF4-FFF2-40B4-BE49-F238E27FC236}">
                <a16:creationId xmlns:a16="http://schemas.microsoft.com/office/drawing/2014/main" id="{44F1AE47-20F6-7A38-2454-EBEDBF65FDF3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9228138" y="2045872"/>
            <a:ext cx="2603862" cy="1836737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63A80527-2FBF-5B0C-D890-ED3D27A533E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239613" y="1417023"/>
            <a:ext cx="2603862" cy="42765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/>
              <a:t>Column 4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BBAD0DC-4AD6-B436-0141-F852A0FA1786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370510" y="330661"/>
            <a:ext cx="10153403" cy="7676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EB5F32B-6D29-1434-D80C-46B0EF7980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6344247"/>
            <a:ext cx="5903913" cy="18454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i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sz="1400" b="1" i="0">
                <a:latin typeface="Libre Baskerville" panose="02000000000000000000" pitchFamily="2" charset="0"/>
              </a:defRPr>
            </a:lvl2pPr>
            <a:lvl3pPr marL="914400" indent="0">
              <a:buNone/>
              <a:defRPr sz="1400" b="1" i="0">
                <a:latin typeface="Libre Baskerville" panose="02000000000000000000" pitchFamily="2" charset="0"/>
              </a:defRPr>
            </a:lvl3pPr>
            <a:lvl4pPr marL="1371600" indent="0">
              <a:buNone/>
              <a:defRPr sz="1400" b="1" i="0">
                <a:latin typeface="Libre Baskerville" panose="02000000000000000000" pitchFamily="2" charset="0"/>
              </a:defRPr>
            </a:lvl4pPr>
            <a:lvl5pPr marL="1828800" indent="0">
              <a:buNone/>
              <a:defRPr sz="1400"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PROJECT OR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2111062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162" userDrawn="1">
          <p15:clr>
            <a:srgbClr val="5ACBF0"/>
          </p15:clr>
        </p15:guide>
        <p15:guide id="3" orient="horz" pos="1298" userDrawn="1">
          <p15:clr>
            <a:srgbClr val="5ACBF0"/>
          </p15:clr>
        </p15:guide>
        <p15:guide id="4" pos="1980">
          <p15:clr>
            <a:srgbClr val="A4A3A4"/>
          </p15:clr>
        </p15:guide>
        <p15:guide id="5" pos="5813">
          <p15:clr>
            <a:srgbClr val="5ACBF0"/>
          </p15:clr>
        </p15:guide>
        <p15:guide id="6" pos="2094">
          <p15:clr>
            <a:srgbClr val="5ACBF0"/>
          </p15:clr>
        </p15:guide>
        <p15:guide id="7" pos="1867">
          <p15:clr>
            <a:srgbClr val="5ACBF0"/>
          </p15:clr>
        </p15:guide>
        <p15:guide id="8" pos="5700">
          <p15:clr>
            <a:srgbClr val="A4A3A4"/>
          </p15:clr>
        </p15:guide>
        <p15:guide id="9" pos="5586">
          <p15:clr>
            <a:srgbClr val="5ACBF0"/>
          </p15:clr>
        </p15:guide>
        <p15:guide id="10" pos="3727">
          <p15:clr>
            <a:srgbClr val="5ACBF0"/>
          </p15:clr>
        </p15:guide>
        <p15:guide id="11" pos="3953">
          <p15:clr>
            <a:srgbClr val="5ACBF0"/>
          </p15:clr>
        </p15:guide>
        <p15:guide id="12" pos="3840">
          <p15:clr>
            <a:srgbClr val="A4A3A4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/5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CC816D05-D913-C870-C027-1EE3D880C5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304523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C816D05-D913-C870-C027-1EE3D880C5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0F743-7583-E24A-91BB-F7A1FA002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75951" y="6349428"/>
            <a:ext cx="1054848" cy="183600"/>
          </a:xfrm>
        </p:spPr>
        <p:txBody>
          <a:bodyPr/>
          <a:lstStyle/>
          <a:p>
            <a:fld id="{C6A366F5-ADD2-924A-9CC9-AAF3C608492C}" type="slidenum">
              <a:rPr lang="en-GB" smtClean="0"/>
              <a:t>‹#›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F892896-DF6C-E515-B0F1-1891294BF76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54368" y="6349428"/>
            <a:ext cx="4500562" cy="184544"/>
          </a:xfrm>
        </p:spPr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045B1CD-6A1B-79C3-6555-BA580E348909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71475" y="1432361"/>
            <a:ext cx="5364163" cy="2293937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 typeface="Wingdings" panose="05000000000000000000" pitchFamily="2" charset="2"/>
              <a:buChar char="§"/>
              <a:defRPr sz="1200"/>
            </a:lvl1pPr>
            <a:lvl2pPr marL="628650" indent="-171450">
              <a:buFont typeface="Wingdings" panose="05000000000000000000" pitchFamily="2" charset="2"/>
              <a:buChar char="§"/>
              <a:defRPr sz="1200"/>
            </a:lvl2pPr>
            <a:lvl3pPr marL="1085850" indent="-171450">
              <a:buFont typeface="Wingdings" panose="05000000000000000000" pitchFamily="2" charset="2"/>
              <a:buChar char="§"/>
              <a:defRPr sz="1200"/>
            </a:lvl3pPr>
            <a:lvl4pPr marL="1543050" indent="-171450">
              <a:buFont typeface="Wingdings" panose="05000000000000000000" pitchFamily="2" charset="2"/>
              <a:buChar char="§"/>
              <a:defRPr sz="1200"/>
            </a:lvl4pPr>
            <a:lvl5pPr marL="2000250" indent="-171450">
              <a:buFont typeface="Wingdings" panose="05000000000000000000" pitchFamily="2" charset="2"/>
              <a:buChar char="§"/>
              <a:defRPr sz="12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DFD34C2B-A178-2E58-5FBF-7A72E04825DF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467475" y="1432361"/>
            <a:ext cx="5352676" cy="2293937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 typeface="Wingdings" panose="05000000000000000000" pitchFamily="2" charset="2"/>
              <a:buChar char="§"/>
              <a:defRPr sz="1200"/>
            </a:lvl1pPr>
            <a:lvl2pPr marL="628650" indent="-171450">
              <a:buFont typeface="Wingdings" panose="05000000000000000000" pitchFamily="2" charset="2"/>
              <a:buChar char="§"/>
              <a:defRPr sz="1200"/>
            </a:lvl2pPr>
            <a:lvl3pPr marL="1085850" indent="-171450">
              <a:buFont typeface="Wingdings" panose="05000000000000000000" pitchFamily="2" charset="2"/>
              <a:buChar char="§"/>
              <a:defRPr sz="1200"/>
            </a:lvl3pPr>
            <a:lvl4pPr marL="1543050" indent="-171450">
              <a:buFont typeface="Wingdings" panose="05000000000000000000" pitchFamily="2" charset="2"/>
              <a:buChar char="§"/>
              <a:defRPr sz="1200"/>
            </a:lvl4pPr>
            <a:lvl5pPr marL="2000250" indent="-171450">
              <a:buFont typeface="Wingdings" panose="05000000000000000000" pitchFamily="2" charset="2"/>
              <a:buChar char="§"/>
              <a:defRPr sz="12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19AFBCA8-9AF8-C810-3F25-D544D60FAA34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370510" y="330661"/>
            <a:ext cx="10153403" cy="7676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ADE4C01-34AD-9AD9-8B2E-1F160EDF3B2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6344247"/>
            <a:ext cx="5903913" cy="18454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i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sz="1400" b="1" i="0">
                <a:latin typeface="Libre Baskerville" panose="02000000000000000000" pitchFamily="2" charset="0"/>
              </a:defRPr>
            </a:lvl2pPr>
            <a:lvl3pPr marL="914400" indent="0">
              <a:buNone/>
              <a:defRPr sz="1400" b="1" i="0">
                <a:latin typeface="Libre Baskerville" panose="02000000000000000000" pitchFamily="2" charset="0"/>
              </a:defRPr>
            </a:lvl3pPr>
            <a:lvl4pPr marL="1371600" indent="0">
              <a:buNone/>
              <a:defRPr sz="1400" b="1" i="0">
                <a:latin typeface="Libre Baskerville" panose="02000000000000000000" pitchFamily="2" charset="0"/>
              </a:defRPr>
            </a:lvl4pPr>
            <a:lvl5pPr marL="1828800" indent="0">
              <a:buNone/>
              <a:defRPr sz="1400"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PROJECT OR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8648927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13">
          <p15:clr>
            <a:srgbClr val="5ACBF0"/>
          </p15:clr>
        </p15:guide>
        <p15:guide id="2" pos="4067">
          <p15:clr>
            <a:srgbClr val="5ACBF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/50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CAE96E5-CE52-981C-D0A5-BAFF72CF56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015604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CAE96E5-CE52-981C-D0A5-BAFF72CF56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0F743-7583-E24A-91BB-F7A1FA002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75951" y="6349428"/>
            <a:ext cx="1054848" cy="183600"/>
          </a:xfrm>
        </p:spPr>
        <p:txBody>
          <a:bodyPr/>
          <a:lstStyle/>
          <a:p>
            <a:fld id="{C6A366F5-ADD2-924A-9CC9-AAF3C608492C}" type="slidenum">
              <a:rPr lang="en-GB" smtClean="0"/>
              <a:t>‹#›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F892896-DF6C-E515-B0F1-1891294BF76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54368" y="6349428"/>
            <a:ext cx="4500562" cy="184544"/>
          </a:xfrm>
        </p:spPr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045B1CD-6A1B-79C3-6555-BA580E348909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71476" y="2042826"/>
            <a:ext cx="5364162" cy="3766773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 typeface="Wingdings" panose="05000000000000000000" pitchFamily="2" charset="2"/>
              <a:buChar char="§"/>
              <a:defRPr sz="1200"/>
            </a:lvl1pPr>
            <a:lvl2pPr marL="628650" indent="-171450">
              <a:buFont typeface="Wingdings" panose="05000000000000000000" pitchFamily="2" charset="2"/>
              <a:buChar char="§"/>
              <a:defRPr sz="1200"/>
            </a:lvl2pPr>
            <a:lvl3pPr marL="1085850" indent="-171450">
              <a:buFont typeface="Wingdings" panose="05000000000000000000" pitchFamily="2" charset="2"/>
              <a:buChar char="§"/>
              <a:defRPr sz="1200"/>
            </a:lvl3pPr>
            <a:lvl4pPr marL="1543050" indent="-171450">
              <a:buFont typeface="Wingdings" panose="05000000000000000000" pitchFamily="2" charset="2"/>
              <a:buChar char="§"/>
              <a:defRPr sz="1200"/>
            </a:lvl4pPr>
            <a:lvl5pPr marL="2000250" indent="-171450">
              <a:buFont typeface="Wingdings" panose="05000000000000000000" pitchFamily="2" charset="2"/>
              <a:buChar char="§"/>
              <a:defRPr sz="12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DFD34C2B-A178-2E58-5FBF-7A72E04825DF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456362" y="2042826"/>
            <a:ext cx="5364311" cy="3766774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 typeface="Wingdings" panose="05000000000000000000" pitchFamily="2" charset="2"/>
              <a:buChar char="§"/>
              <a:defRPr sz="1200"/>
            </a:lvl1pPr>
            <a:lvl2pPr marL="628650" indent="-171450">
              <a:buFont typeface="Wingdings" panose="05000000000000000000" pitchFamily="2" charset="2"/>
              <a:buChar char="§"/>
              <a:defRPr sz="1200"/>
            </a:lvl2pPr>
            <a:lvl3pPr marL="1085850" indent="-171450">
              <a:buFont typeface="Wingdings" panose="05000000000000000000" pitchFamily="2" charset="2"/>
              <a:buChar char="§"/>
              <a:defRPr sz="1200"/>
            </a:lvl3pPr>
            <a:lvl4pPr marL="1543050" indent="-171450">
              <a:buFont typeface="Wingdings" panose="05000000000000000000" pitchFamily="2" charset="2"/>
              <a:buChar char="§"/>
              <a:defRPr sz="1200"/>
            </a:lvl4pPr>
            <a:lvl5pPr marL="2000250" indent="-171450">
              <a:buFont typeface="Wingdings" panose="05000000000000000000" pitchFamily="2" charset="2"/>
              <a:buChar char="§"/>
              <a:defRPr sz="12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C1059C35-0729-3301-1458-D82AC26A4E9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1475" y="1406509"/>
            <a:ext cx="5364163" cy="438166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Column 1 Heading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B902F578-F273-915B-38B3-25F6BF895F8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467474" y="1406509"/>
            <a:ext cx="5364161" cy="438166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Column 2 Heading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68D9C4CE-ED7C-11FE-A7F6-FDC68AAE193D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370510" y="330661"/>
            <a:ext cx="10153403" cy="7676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GB"/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5B8E64A9-8D2C-0DBD-FC32-36BD30A00FD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6344247"/>
            <a:ext cx="5903913" cy="18454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i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sz="1400" b="1" i="0">
                <a:latin typeface="Libre Baskerville" panose="02000000000000000000" pitchFamily="2" charset="0"/>
              </a:defRPr>
            </a:lvl2pPr>
            <a:lvl3pPr marL="914400" indent="0">
              <a:buNone/>
              <a:defRPr sz="1400" b="1" i="0">
                <a:latin typeface="Libre Baskerville" panose="02000000000000000000" pitchFamily="2" charset="0"/>
              </a:defRPr>
            </a:lvl3pPr>
            <a:lvl4pPr marL="1371600" indent="0">
              <a:buNone/>
              <a:defRPr sz="1400" b="1" i="0">
                <a:latin typeface="Libre Baskerville" panose="02000000000000000000" pitchFamily="2" charset="0"/>
              </a:defRPr>
            </a:lvl4pPr>
            <a:lvl5pPr marL="1828800" indent="0">
              <a:buNone/>
              <a:defRPr sz="1400"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PROJECT OR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1015360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13">
          <p15:clr>
            <a:srgbClr val="5ACBF0"/>
          </p15:clr>
        </p15:guide>
        <p15:guide id="2" pos="4067">
          <p15:clr>
            <a:srgbClr val="5ACBF0"/>
          </p15:clr>
        </p15:guide>
        <p15:guide id="3" orient="horz" pos="1162">
          <p15:clr>
            <a:srgbClr val="5ACBF0"/>
          </p15:clr>
        </p15:guide>
        <p15:guide id="4" orient="horz" pos="1298">
          <p15:clr>
            <a:srgbClr val="5ACBF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,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814B2C6E-2006-D86A-FC21-AA8D840919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7512912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4B2C6E-2006-D86A-FC21-AA8D840919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0F743-7583-E24A-91BB-F7A1FA002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75951" y="6349428"/>
            <a:ext cx="1054848" cy="183600"/>
          </a:xfrm>
        </p:spPr>
        <p:txBody>
          <a:bodyPr/>
          <a:lstStyle/>
          <a:p>
            <a:fld id="{C6A366F5-ADD2-924A-9CC9-AAF3C608492C}" type="slidenum">
              <a:rPr lang="en-GB" smtClean="0"/>
              <a:t>‹#›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F892896-DF6C-E515-B0F1-1891294BF76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54368" y="6349428"/>
            <a:ext cx="4500562" cy="184544"/>
          </a:xfrm>
        </p:spPr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1135705-09E6-131B-9C0F-3E65A1BA870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60001" y="1433196"/>
            <a:ext cx="3396024" cy="2593974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82D4F254-8E89-3A04-60AA-4349B680C996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476576" y="1433196"/>
            <a:ext cx="7343949" cy="2593974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0E467859-61BD-65C9-049F-9211088B1E29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370510" y="330661"/>
            <a:ext cx="10153403" cy="7676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FA9B60-DD4C-8B43-D7B3-3665111ED1D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6344247"/>
            <a:ext cx="5903913" cy="18454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i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sz="1400" b="1" i="0">
                <a:latin typeface="Libre Baskerville" panose="02000000000000000000" pitchFamily="2" charset="0"/>
              </a:defRPr>
            </a:lvl2pPr>
            <a:lvl3pPr marL="914400" indent="0">
              <a:buNone/>
              <a:defRPr sz="1400" b="1" i="0">
                <a:latin typeface="Libre Baskerville" panose="02000000000000000000" pitchFamily="2" charset="0"/>
              </a:defRPr>
            </a:lvl3pPr>
            <a:lvl4pPr marL="1371600" indent="0">
              <a:buNone/>
              <a:defRPr sz="1400" b="1" i="0">
                <a:latin typeface="Libre Baskerville" panose="02000000000000000000" pitchFamily="2" charset="0"/>
              </a:defRPr>
            </a:lvl4pPr>
            <a:lvl5pPr marL="1828800" indent="0">
              <a:buNone/>
              <a:defRPr sz="1400"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PROJECT OR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2427681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2593">
          <p15:clr>
            <a:srgbClr val="5ACBF0"/>
          </p15:clr>
        </p15:guide>
        <p15:guide id="6" pos="2366">
          <p15:clr>
            <a:srgbClr val="5ACBF0"/>
          </p15:clr>
        </p15:guide>
        <p15:guide id="7" pos="2819">
          <p15:clr>
            <a:srgbClr val="5ACBF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, 2/3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FD89C578-FB11-8B72-331E-7EADB02617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596131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D89C578-FB11-8B72-331E-7EADB02617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0F743-7583-E24A-91BB-F7A1FA002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75951" y="6349428"/>
            <a:ext cx="1054848" cy="183600"/>
          </a:xfrm>
        </p:spPr>
        <p:txBody>
          <a:bodyPr/>
          <a:lstStyle/>
          <a:p>
            <a:fld id="{C6A366F5-ADD2-924A-9CC9-AAF3C608492C}" type="slidenum">
              <a:rPr lang="en-GB" smtClean="0"/>
              <a:t>‹#›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F892896-DF6C-E515-B0F1-1891294BF76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54368" y="6349428"/>
            <a:ext cx="4500562" cy="184544"/>
          </a:xfrm>
        </p:spPr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1135705-09E6-131B-9C0F-3E65A1BA870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60001" y="2044229"/>
            <a:ext cx="3396024" cy="1836737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AF6BAAA-CEB5-F7EB-B5DE-0A93BCC10C1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1476" y="1406507"/>
            <a:ext cx="3396025" cy="438168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Column 1 Heading</a:t>
            </a:r>
          </a:p>
        </p:txBody>
      </p:sp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82D4F254-8E89-3A04-60AA-4349B680C996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476576" y="2044229"/>
            <a:ext cx="7343949" cy="1836737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74EDFEC-7B72-4184-EFB6-03EC134270E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66302" y="1406507"/>
            <a:ext cx="7343949" cy="438168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/>
              <a:t>Column 2 Heading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5BD00E8E-298D-F6ED-518A-8967C527BAEB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370510" y="330661"/>
            <a:ext cx="10153403" cy="7676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B8924CC-638D-7BA3-F631-D0BB41623FA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6344247"/>
            <a:ext cx="5903913" cy="18454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i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sz="1400" b="1" i="0">
                <a:latin typeface="Libre Baskerville" panose="02000000000000000000" pitchFamily="2" charset="0"/>
              </a:defRPr>
            </a:lvl2pPr>
            <a:lvl3pPr marL="914400" indent="0">
              <a:buNone/>
              <a:defRPr sz="1400" b="1" i="0">
                <a:latin typeface="Libre Baskerville" panose="02000000000000000000" pitchFamily="2" charset="0"/>
              </a:defRPr>
            </a:lvl3pPr>
            <a:lvl4pPr marL="1371600" indent="0">
              <a:buNone/>
              <a:defRPr sz="1400" b="1" i="0">
                <a:latin typeface="Libre Baskerville" panose="02000000000000000000" pitchFamily="2" charset="0"/>
              </a:defRPr>
            </a:lvl4pPr>
            <a:lvl5pPr marL="1828800" indent="0">
              <a:buNone/>
              <a:defRPr sz="1400"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PROJECT OR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7279417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162">
          <p15:clr>
            <a:srgbClr val="5ACBF0"/>
          </p15:clr>
        </p15:guide>
        <p15:guide id="3" orient="horz" pos="1298">
          <p15:clr>
            <a:srgbClr val="5ACBF0"/>
          </p15:clr>
        </p15:guide>
        <p15:guide id="4" pos="2593">
          <p15:clr>
            <a:srgbClr val="5ACBF0"/>
          </p15:clr>
        </p15:guide>
        <p15:guide id="6" pos="2366">
          <p15:clr>
            <a:srgbClr val="5ACBF0"/>
          </p15:clr>
        </p15:guide>
        <p15:guide id="7" pos="2819">
          <p15:clr>
            <a:srgbClr val="5ACBF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, 2/3 Oppos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8A09521-D57A-243E-DDB6-F365213152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169424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8A09521-D57A-243E-DDB6-F365213152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0F743-7583-E24A-91BB-F7A1FA002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75951" y="6349428"/>
            <a:ext cx="1054848" cy="183600"/>
          </a:xfrm>
        </p:spPr>
        <p:txBody>
          <a:bodyPr/>
          <a:lstStyle/>
          <a:p>
            <a:fld id="{C6A366F5-ADD2-924A-9CC9-AAF3C608492C}" type="slidenum">
              <a:rPr lang="en-GB" smtClean="0"/>
              <a:t>‹#›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F892896-DF6C-E515-B0F1-1891294BF76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54368" y="6349428"/>
            <a:ext cx="4500562" cy="184544"/>
          </a:xfrm>
        </p:spPr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1135705-09E6-131B-9C0F-3E65A1BA870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60001" y="1433204"/>
            <a:ext cx="3396024" cy="2593974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82D4F254-8E89-3A04-60AA-4349B680C996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475163" y="1433204"/>
            <a:ext cx="7345362" cy="2593974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DD1592C7-3CFB-E66A-0DE6-06CA0DE1734F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370510" y="330661"/>
            <a:ext cx="10153403" cy="7676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C96166C-E97E-1D64-9000-D0D56B7FE16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6344247"/>
            <a:ext cx="5903913" cy="18454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i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sz="1400" b="1" i="0">
                <a:latin typeface="Libre Baskerville" panose="02000000000000000000" pitchFamily="2" charset="0"/>
              </a:defRPr>
            </a:lvl2pPr>
            <a:lvl3pPr marL="914400" indent="0">
              <a:buNone/>
              <a:defRPr sz="1400" b="1" i="0">
                <a:latin typeface="Libre Baskerville" panose="02000000000000000000" pitchFamily="2" charset="0"/>
              </a:defRPr>
            </a:lvl3pPr>
            <a:lvl4pPr marL="1371600" indent="0">
              <a:buNone/>
              <a:defRPr sz="1400" b="1" i="0">
                <a:latin typeface="Libre Baskerville" panose="02000000000000000000" pitchFamily="2" charset="0"/>
              </a:defRPr>
            </a:lvl4pPr>
            <a:lvl5pPr marL="1828800" indent="0">
              <a:buNone/>
              <a:defRPr sz="1400"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PROJECT OR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263658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2593">
          <p15:clr>
            <a:srgbClr val="5ACBF0"/>
          </p15:clr>
        </p15:guide>
        <p15:guide id="6" pos="2366">
          <p15:clr>
            <a:srgbClr val="5ACBF0"/>
          </p15:clr>
        </p15:guide>
        <p15:guide id="7" pos="2819">
          <p15:clr>
            <a:srgbClr val="5ACBF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,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8A676D26-52C2-C893-3E81-0BF6A74302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72200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A676D26-52C2-C893-3E81-0BF6A74302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0F743-7583-E24A-91BB-F7A1FA002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75951" y="6349428"/>
            <a:ext cx="1054848" cy="183600"/>
          </a:xfrm>
        </p:spPr>
        <p:txBody>
          <a:bodyPr/>
          <a:lstStyle/>
          <a:p>
            <a:fld id="{C6A366F5-ADD2-924A-9CC9-AAF3C608492C}" type="slidenum">
              <a:rPr lang="en-GB" smtClean="0"/>
              <a:t>‹#›</a:t>
            </a:fld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1135705-09E6-131B-9C0F-3E65A1BA870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60001" y="1415732"/>
            <a:ext cx="7356837" cy="3174654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B092633C-375F-0078-3487-1E72A061522F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8435613" y="1434056"/>
            <a:ext cx="3398461" cy="3156330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DDC83B42-BB88-C395-D4F6-3DC01DE0B485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370510" y="330661"/>
            <a:ext cx="10153403" cy="7676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6F47020-4378-2DE3-DC87-EFBF9601FF1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6344247"/>
            <a:ext cx="5903913" cy="18454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i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sz="1400" b="1" i="0">
                <a:latin typeface="Libre Baskerville" panose="02000000000000000000" pitchFamily="2" charset="0"/>
              </a:defRPr>
            </a:lvl2pPr>
            <a:lvl3pPr marL="914400" indent="0">
              <a:buNone/>
              <a:defRPr sz="1400" b="1" i="0">
                <a:latin typeface="Libre Baskerville" panose="02000000000000000000" pitchFamily="2" charset="0"/>
              </a:defRPr>
            </a:lvl3pPr>
            <a:lvl4pPr marL="1371600" indent="0">
              <a:buNone/>
              <a:defRPr sz="1400" b="1" i="0">
                <a:latin typeface="Libre Baskerville" panose="02000000000000000000" pitchFamily="2" charset="0"/>
              </a:defRPr>
            </a:lvl4pPr>
            <a:lvl5pPr marL="1828800" indent="0">
              <a:buNone/>
              <a:defRPr sz="1400"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PROJECT OR SECTION TITLE</a:t>
            </a:r>
          </a:p>
        </p:txBody>
      </p:sp>
      <p:sp>
        <p:nvSpPr>
          <p:cNvPr id="2" name="Footer Placeholder 7">
            <a:extLst>
              <a:ext uri="{FF2B5EF4-FFF2-40B4-BE49-F238E27FC236}">
                <a16:creationId xmlns:a16="http://schemas.microsoft.com/office/drawing/2014/main" id="{7E2BBDF3-CBA9-522E-1E7D-B2B49D7CA91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54368" y="6349428"/>
            <a:ext cx="4500562" cy="184544"/>
          </a:xfrm>
        </p:spPr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</p:spTree>
    <p:extLst>
      <p:ext uri="{BB962C8B-B14F-4D97-AF65-F5344CB8AC3E}">
        <p14:creationId xmlns:p14="http://schemas.microsoft.com/office/powerpoint/2010/main" val="37585541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4861">
          <p15:clr>
            <a:srgbClr val="5ACBF0"/>
          </p15:clr>
        </p15:guide>
        <p15:guide id="5" pos="5087">
          <p15:clr>
            <a:srgbClr val="5ACBF0"/>
          </p15:clr>
        </p15:guide>
        <p15:guide id="11" pos="5314">
          <p15:clr>
            <a:srgbClr val="5ACBF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tree with green leaves&#10;&#10;Description automatically generated">
            <a:extLst>
              <a:ext uri="{FF2B5EF4-FFF2-40B4-BE49-F238E27FC236}">
                <a16:creationId xmlns:a16="http://schemas.microsoft.com/office/drawing/2014/main" id="{0B6ABEBC-82BC-620A-7743-C51C9DAAB91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47907" y="0"/>
            <a:ext cx="6344093" cy="6858000"/>
          </a:xfrm>
          <a:prstGeom prst="rect">
            <a:avLst/>
          </a:prstGeom>
        </p:spPr>
      </p:pic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DD4F21CB-C707-B194-3AB8-BE3EAA3033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128627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D4F21CB-C707-B194-3AB8-BE3EAA3033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311AE40-2AEB-9CEC-D205-89EFDB047A7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1475" y="4852641"/>
            <a:ext cx="8326800" cy="72135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FontTx/>
              <a:buNone/>
              <a:defRPr lang="en-GB" sz="2400" b="1" dirty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>
              <a:lnSpc>
                <a:spcPct val="100000"/>
              </a:lnSpc>
              <a:spcBef>
                <a:spcPct val="0"/>
              </a:spcBef>
              <a:buNone/>
            </a:pPr>
            <a:r>
              <a:rPr lang="en-GB" dirty="0"/>
              <a:t>Project Title</a:t>
            </a:r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E57F75E7-34DD-C63F-74F6-E86AF1FDBB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527063"/>
            <a:ext cx="8338275" cy="1164000"/>
          </a:xfrm>
        </p:spPr>
        <p:txBody>
          <a:bodyPr vert="horz"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2" name="Text Placeholder 13">
            <a:extLst>
              <a:ext uri="{FF2B5EF4-FFF2-40B4-BE49-F238E27FC236}">
                <a16:creationId xmlns:a16="http://schemas.microsoft.com/office/drawing/2014/main" id="{7A45A657-FBBC-B03C-2447-FCC474CA646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0000" y="6019800"/>
            <a:ext cx="8338275" cy="5080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 algn="l">
              <a:lnSpc>
                <a:spcPct val="100000"/>
              </a:lnSpc>
              <a:buFontTx/>
              <a:buNone/>
              <a:defRPr b="1">
                <a:latin typeface="+mj-lt"/>
              </a:defRPr>
            </a:lvl2pPr>
            <a:lvl3pPr marL="914400" indent="0" algn="l">
              <a:lnSpc>
                <a:spcPct val="100000"/>
              </a:lnSpc>
              <a:buFontTx/>
              <a:buNone/>
              <a:defRPr b="1">
                <a:latin typeface="+mj-lt"/>
              </a:defRPr>
            </a:lvl3pPr>
            <a:lvl4pPr marL="1371600" indent="0" algn="l">
              <a:lnSpc>
                <a:spcPct val="100000"/>
              </a:lnSpc>
              <a:buFontTx/>
              <a:buNone/>
              <a:defRPr b="1">
                <a:latin typeface="+mj-lt"/>
              </a:defRPr>
            </a:lvl4pPr>
            <a:lvl5pPr marL="1828800" indent="0" algn="l">
              <a:lnSpc>
                <a:spcPct val="100000"/>
              </a:lnSpc>
              <a:buFontTx/>
              <a:buNone/>
              <a:defRPr b="1">
                <a:latin typeface="+mj-lt"/>
              </a:defRPr>
            </a:lvl5pPr>
          </a:lstStyle>
          <a:p>
            <a:pPr lvl="0"/>
            <a:r>
              <a:rPr lang="en-GB" dirty="0"/>
              <a:t>PREPARED FOR: CLIENT NAME</a:t>
            </a:r>
          </a:p>
        </p:txBody>
      </p:sp>
    </p:spTree>
    <p:extLst>
      <p:ext uri="{BB962C8B-B14F-4D97-AF65-F5344CB8AC3E}">
        <p14:creationId xmlns:p14="http://schemas.microsoft.com/office/powerpoint/2010/main" val="26160809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, 1/3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F9AFA6BC-77B5-9D1B-B2BB-854F2B3338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479355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9AFA6BC-77B5-9D1B-B2BB-854F2B3338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0F743-7583-E24A-91BB-F7A1FA002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75951" y="6349428"/>
            <a:ext cx="1054848" cy="183600"/>
          </a:xfrm>
        </p:spPr>
        <p:txBody>
          <a:bodyPr/>
          <a:lstStyle/>
          <a:p>
            <a:fld id="{C6A366F5-ADD2-924A-9CC9-AAF3C608492C}" type="slidenum">
              <a:rPr lang="en-GB" smtClean="0"/>
              <a:t>‹#›</a:t>
            </a:fld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1135705-09E6-131B-9C0F-3E65A1BA870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60001" y="2046102"/>
            <a:ext cx="7356837" cy="2404352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AF6BAAA-CEB5-F7EB-B5DE-0A93BCC10C1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1476" y="1406507"/>
            <a:ext cx="7356837" cy="438168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Column 1 Heading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B092633C-375F-0078-3487-1E72A061522F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8435613" y="2046102"/>
            <a:ext cx="3398461" cy="2404352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ABD0937E-1F53-C7C9-13FC-8AE70762923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435975" y="1406507"/>
            <a:ext cx="3384549" cy="438168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Column 2 Heading</a:t>
            </a:r>
          </a:p>
          <a:p>
            <a:pPr lvl="0"/>
            <a:endParaRPr lang="en-GB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662F42E-4E87-6317-8C28-CE4DCA18D5C6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370510" y="330661"/>
            <a:ext cx="10153403" cy="7676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EE7DBE0-0BA3-491B-487F-3F119979353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6344247"/>
            <a:ext cx="5903913" cy="18454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i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sz="1400" b="1" i="0">
                <a:latin typeface="Libre Baskerville" panose="02000000000000000000" pitchFamily="2" charset="0"/>
              </a:defRPr>
            </a:lvl2pPr>
            <a:lvl3pPr marL="914400" indent="0">
              <a:buNone/>
              <a:defRPr sz="1400" b="1" i="0">
                <a:latin typeface="Libre Baskerville" panose="02000000000000000000" pitchFamily="2" charset="0"/>
              </a:defRPr>
            </a:lvl3pPr>
            <a:lvl4pPr marL="1371600" indent="0">
              <a:buNone/>
              <a:defRPr sz="1400" b="1" i="0">
                <a:latin typeface="Libre Baskerville" panose="02000000000000000000" pitchFamily="2" charset="0"/>
              </a:defRPr>
            </a:lvl4pPr>
            <a:lvl5pPr marL="1828800" indent="0">
              <a:buNone/>
              <a:defRPr sz="1400"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PROJECT OR SECTION TITLE</a:t>
            </a:r>
          </a:p>
        </p:txBody>
      </p:sp>
      <p:sp>
        <p:nvSpPr>
          <p:cNvPr id="5" name="Footer Placeholder 7">
            <a:extLst>
              <a:ext uri="{FF2B5EF4-FFF2-40B4-BE49-F238E27FC236}">
                <a16:creationId xmlns:a16="http://schemas.microsoft.com/office/drawing/2014/main" id="{0006E6F7-8870-C502-FDE8-96692D0BCBE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54368" y="6349428"/>
            <a:ext cx="4500562" cy="184544"/>
          </a:xfrm>
        </p:spPr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</p:spTree>
    <p:extLst>
      <p:ext uri="{BB962C8B-B14F-4D97-AF65-F5344CB8AC3E}">
        <p14:creationId xmlns:p14="http://schemas.microsoft.com/office/powerpoint/2010/main" val="69818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162">
          <p15:clr>
            <a:srgbClr val="5ACBF0"/>
          </p15:clr>
        </p15:guide>
        <p15:guide id="3" orient="horz" pos="1298">
          <p15:clr>
            <a:srgbClr val="5ACBF0"/>
          </p15:clr>
        </p15:guide>
        <p15:guide id="4" pos="4861">
          <p15:clr>
            <a:srgbClr val="5ACBF0"/>
          </p15:clr>
        </p15:guide>
        <p15:guide id="5" pos="5087">
          <p15:clr>
            <a:srgbClr val="5ACBF0"/>
          </p15:clr>
        </p15:guide>
        <p15:guide id="11" pos="5314">
          <p15:clr>
            <a:srgbClr val="5ACBF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, 1/3 Oppos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6E14BFC2-6BDA-008F-9623-44D3CC8CA8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005085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E14BFC2-6BDA-008F-9623-44D3CC8CA8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0F743-7583-E24A-91BB-F7A1FA002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75951" y="6349428"/>
            <a:ext cx="1054848" cy="183600"/>
          </a:xfrm>
        </p:spPr>
        <p:txBody>
          <a:bodyPr/>
          <a:lstStyle/>
          <a:p>
            <a:fld id="{C6A366F5-ADD2-924A-9CC9-AAF3C608492C}" type="slidenum">
              <a:rPr lang="en-GB" smtClean="0"/>
              <a:t>‹#›</a:t>
            </a:fld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1135705-09E6-131B-9C0F-3E65A1BA870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60001" y="1415734"/>
            <a:ext cx="7356837" cy="3174654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B092633C-375F-0078-3487-1E72A061522F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8435975" y="1434058"/>
            <a:ext cx="3398100" cy="3156330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1F4D7505-BD00-2A41-2638-1301DBBC159C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370510" y="330661"/>
            <a:ext cx="10153403" cy="7676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553308F-14CF-5296-5EC4-562DB67841E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6344247"/>
            <a:ext cx="5903913" cy="18454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i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sz="1400" b="1" i="0">
                <a:latin typeface="Libre Baskerville" panose="02000000000000000000" pitchFamily="2" charset="0"/>
              </a:defRPr>
            </a:lvl2pPr>
            <a:lvl3pPr marL="914400" indent="0">
              <a:buNone/>
              <a:defRPr sz="1400" b="1" i="0">
                <a:latin typeface="Libre Baskerville" panose="02000000000000000000" pitchFamily="2" charset="0"/>
              </a:defRPr>
            </a:lvl3pPr>
            <a:lvl4pPr marL="1371600" indent="0">
              <a:buNone/>
              <a:defRPr sz="1400" b="1" i="0">
                <a:latin typeface="Libre Baskerville" panose="02000000000000000000" pitchFamily="2" charset="0"/>
              </a:defRPr>
            </a:lvl4pPr>
            <a:lvl5pPr marL="1828800" indent="0">
              <a:buNone/>
              <a:defRPr sz="1400"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PROJECT OR SECTION TITLE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3DFFBB9-5A5D-127C-608E-F323C562855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54368" y="6349428"/>
            <a:ext cx="4500562" cy="184544"/>
          </a:xfrm>
        </p:spPr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</p:spTree>
    <p:extLst>
      <p:ext uri="{BB962C8B-B14F-4D97-AF65-F5344CB8AC3E}">
        <p14:creationId xmlns:p14="http://schemas.microsoft.com/office/powerpoint/2010/main" val="604748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4861">
          <p15:clr>
            <a:srgbClr val="5ACBF0"/>
          </p15:clr>
        </p15:guide>
        <p15:guide id="5" pos="5087">
          <p15:clr>
            <a:srgbClr val="5ACBF0"/>
          </p15:clr>
        </p15:guide>
        <p15:guide id="11" pos="5314">
          <p15:clr>
            <a:srgbClr val="5ACBF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, 1/3 Opposite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5B7EF710-4D6C-F862-832B-46C4ED688E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30114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B7EF710-4D6C-F862-832B-46C4ED688E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0F743-7583-E24A-91BB-F7A1FA002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75951" y="6349428"/>
            <a:ext cx="1054848" cy="183600"/>
          </a:xfrm>
        </p:spPr>
        <p:txBody>
          <a:bodyPr/>
          <a:lstStyle/>
          <a:p>
            <a:fld id="{C6A366F5-ADD2-924A-9CC9-AAF3C608492C}" type="slidenum">
              <a:rPr lang="en-GB" smtClean="0"/>
              <a:t>‹#›</a:t>
            </a:fld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1135705-09E6-131B-9C0F-3E65A1BA870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60001" y="2044515"/>
            <a:ext cx="7356837" cy="2404352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AF6BAAA-CEB5-F7EB-B5DE-0A93BCC10C1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1477" y="1406510"/>
            <a:ext cx="7356838" cy="438165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Column 1 Heading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B092633C-375F-0078-3487-1E72A061522F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8435975" y="2044515"/>
            <a:ext cx="3398100" cy="2404352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ABD0937E-1F53-C7C9-13FC-8AE70762923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435975" y="1406510"/>
            <a:ext cx="3384549" cy="437593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/>
              <a:t>Column 2 Heading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31EF5BA2-97CF-EE6C-0DE5-BCC70E422B3D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370510" y="330661"/>
            <a:ext cx="10153403" cy="7676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FD42548-5732-BED0-C247-3032D665DB1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6344247"/>
            <a:ext cx="5903913" cy="18454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i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sz="1400" b="1" i="0">
                <a:latin typeface="Libre Baskerville" panose="02000000000000000000" pitchFamily="2" charset="0"/>
              </a:defRPr>
            </a:lvl2pPr>
            <a:lvl3pPr marL="914400" indent="0">
              <a:buNone/>
              <a:defRPr sz="1400" b="1" i="0">
                <a:latin typeface="Libre Baskerville" panose="02000000000000000000" pitchFamily="2" charset="0"/>
              </a:defRPr>
            </a:lvl3pPr>
            <a:lvl4pPr marL="1371600" indent="0">
              <a:buNone/>
              <a:defRPr sz="1400" b="1" i="0">
                <a:latin typeface="Libre Baskerville" panose="02000000000000000000" pitchFamily="2" charset="0"/>
              </a:defRPr>
            </a:lvl4pPr>
            <a:lvl5pPr marL="1828800" indent="0">
              <a:buNone/>
              <a:defRPr sz="1400"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PROJECT OR SECTION TITLE</a:t>
            </a:r>
          </a:p>
        </p:txBody>
      </p:sp>
      <p:sp>
        <p:nvSpPr>
          <p:cNvPr id="5" name="Footer Placeholder 7">
            <a:extLst>
              <a:ext uri="{FF2B5EF4-FFF2-40B4-BE49-F238E27FC236}">
                <a16:creationId xmlns:a16="http://schemas.microsoft.com/office/drawing/2014/main" id="{4C67F003-F159-BB10-D40A-B7819D0960E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54368" y="6349428"/>
            <a:ext cx="4500562" cy="184544"/>
          </a:xfrm>
        </p:spPr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</p:spTree>
    <p:extLst>
      <p:ext uri="{BB962C8B-B14F-4D97-AF65-F5344CB8AC3E}">
        <p14:creationId xmlns:p14="http://schemas.microsoft.com/office/powerpoint/2010/main" val="23681433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162">
          <p15:clr>
            <a:srgbClr val="5ACBF0"/>
          </p15:clr>
        </p15:guide>
        <p15:guide id="3" orient="horz" pos="1275" userDrawn="1">
          <p15:clr>
            <a:srgbClr val="5ACBF0"/>
          </p15:clr>
        </p15:guide>
        <p15:guide id="4" pos="4861">
          <p15:clr>
            <a:srgbClr val="5ACBF0"/>
          </p15:clr>
        </p15:guide>
        <p15:guide id="5" pos="5087">
          <p15:clr>
            <a:srgbClr val="5ACBF0"/>
          </p15:clr>
        </p15:guide>
        <p15:guide id="11" pos="5314">
          <p15:clr>
            <a:srgbClr val="5ACBF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/4,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67745054-492B-C6CF-C80C-31648E6AE4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885241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7745054-492B-C6CF-C80C-31648E6AE4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0F743-7583-E24A-91BB-F7A1FA002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75951" y="6349428"/>
            <a:ext cx="1054848" cy="183600"/>
          </a:xfrm>
        </p:spPr>
        <p:txBody>
          <a:bodyPr/>
          <a:lstStyle/>
          <a:p>
            <a:fld id="{C6A366F5-ADD2-924A-9CC9-AAF3C608492C}" type="slidenum">
              <a:rPr lang="en-GB" smtClean="0"/>
              <a:t>‹#›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F892896-DF6C-E515-B0F1-1891294BF76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54368" y="6349428"/>
            <a:ext cx="4500562" cy="184544"/>
          </a:xfrm>
        </p:spPr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1135705-09E6-131B-9C0F-3E65A1BA870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60002" y="2045872"/>
            <a:ext cx="8507772" cy="1836737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AF6BAAA-CEB5-F7EB-B5DE-0A93BCC10C1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1476" y="1417023"/>
            <a:ext cx="8507773" cy="42765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Column 1</a:t>
            </a:r>
          </a:p>
        </p:txBody>
      </p:sp>
      <p:sp>
        <p:nvSpPr>
          <p:cNvPr id="27" name="Content Placeholder 3">
            <a:extLst>
              <a:ext uri="{FF2B5EF4-FFF2-40B4-BE49-F238E27FC236}">
                <a16:creationId xmlns:a16="http://schemas.microsoft.com/office/drawing/2014/main" id="{44F1AE47-20F6-7A38-2454-EBEDBF65FDF3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9228138" y="2045872"/>
            <a:ext cx="2603862" cy="1836737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63A80527-2FBF-5B0C-D890-ED3D27A533E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239613" y="1417023"/>
            <a:ext cx="2603862" cy="42765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Column 2 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BBAD0DC-4AD6-B436-0141-F852A0FA1786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370510" y="330661"/>
            <a:ext cx="10153403" cy="7676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EB5F32B-6D29-1434-D80C-46B0EF7980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6344247"/>
            <a:ext cx="5903913" cy="18454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i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sz="1400" b="1" i="0">
                <a:latin typeface="Libre Baskerville" panose="02000000000000000000" pitchFamily="2" charset="0"/>
              </a:defRPr>
            </a:lvl2pPr>
            <a:lvl3pPr marL="914400" indent="0">
              <a:buNone/>
              <a:defRPr sz="1400" b="1" i="0">
                <a:latin typeface="Libre Baskerville" panose="02000000000000000000" pitchFamily="2" charset="0"/>
              </a:defRPr>
            </a:lvl3pPr>
            <a:lvl4pPr marL="1371600" indent="0">
              <a:buNone/>
              <a:defRPr sz="1400" b="1" i="0">
                <a:latin typeface="Libre Baskerville" panose="02000000000000000000" pitchFamily="2" charset="0"/>
              </a:defRPr>
            </a:lvl4pPr>
            <a:lvl5pPr marL="1828800" indent="0">
              <a:buNone/>
              <a:defRPr sz="1400"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PROJECT OR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365747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162">
          <p15:clr>
            <a:srgbClr val="5ACBF0"/>
          </p15:clr>
        </p15:guide>
        <p15:guide id="3" orient="horz" pos="1298">
          <p15:clr>
            <a:srgbClr val="5ACBF0"/>
          </p15:clr>
        </p15:guide>
        <p15:guide id="4" pos="1980">
          <p15:clr>
            <a:srgbClr val="A4A3A4"/>
          </p15:clr>
        </p15:guide>
        <p15:guide id="5" pos="5813">
          <p15:clr>
            <a:srgbClr val="5ACBF0"/>
          </p15:clr>
        </p15:guide>
        <p15:guide id="6" pos="2094">
          <p15:clr>
            <a:srgbClr val="5ACBF0"/>
          </p15:clr>
        </p15:guide>
        <p15:guide id="7" pos="1867">
          <p15:clr>
            <a:srgbClr val="5ACBF0"/>
          </p15:clr>
        </p15:guide>
        <p15:guide id="8" pos="5700">
          <p15:clr>
            <a:srgbClr val="A4A3A4"/>
          </p15:clr>
        </p15:guide>
        <p15:guide id="9" pos="5586">
          <p15:clr>
            <a:srgbClr val="5ACBF0"/>
          </p15:clr>
        </p15:guide>
        <p15:guide id="10" pos="3727">
          <p15:clr>
            <a:srgbClr val="5ACBF0"/>
          </p15:clr>
        </p15:guide>
        <p15:guide id="11" pos="3953">
          <p15:clr>
            <a:srgbClr val="5ACBF0"/>
          </p15:clr>
        </p15:guide>
        <p15:guide id="12" pos="3840">
          <p15:clr>
            <a:srgbClr val="A4A3A4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4, 3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67745054-492B-C6CF-C80C-31648E6AE4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885241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7745054-492B-C6CF-C80C-31648E6AE4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0F743-7583-E24A-91BB-F7A1FA002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75951" y="6349428"/>
            <a:ext cx="1054848" cy="183600"/>
          </a:xfrm>
        </p:spPr>
        <p:txBody>
          <a:bodyPr/>
          <a:lstStyle/>
          <a:p>
            <a:fld id="{C6A366F5-ADD2-924A-9CC9-AAF3C608492C}" type="slidenum">
              <a:rPr lang="en-GB" smtClean="0"/>
              <a:t>‹#›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F892896-DF6C-E515-B0F1-1891294BF76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54368" y="6349428"/>
            <a:ext cx="4500562" cy="184544"/>
          </a:xfrm>
        </p:spPr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1135705-09E6-131B-9C0F-3E65A1BA870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60002" y="2045872"/>
            <a:ext cx="2603862" cy="1836737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AF6BAAA-CEB5-F7EB-B5DE-0A93BCC10C1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1477" y="1417023"/>
            <a:ext cx="2603862" cy="42765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/>
              <a:t>Column 1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4C551A70-39BD-D693-A254-FC6B2382A40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339376" y="2045872"/>
            <a:ext cx="8504098" cy="1836737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63A80527-2FBF-5B0C-D890-ED3D27A533E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339376" y="1417023"/>
            <a:ext cx="8504099" cy="42765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Column 2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BBAD0DC-4AD6-B436-0141-F852A0FA1786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370510" y="330661"/>
            <a:ext cx="10153403" cy="7676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EB5F32B-6D29-1434-D80C-46B0EF7980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6344247"/>
            <a:ext cx="5903913" cy="18454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i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sz="1400" b="1" i="0">
                <a:latin typeface="Libre Baskerville" panose="02000000000000000000" pitchFamily="2" charset="0"/>
              </a:defRPr>
            </a:lvl2pPr>
            <a:lvl3pPr marL="914400" indent="0">
              <a:buNone/>
              <a:defRPr sz="1400" b="1" i="0">
                <a:latin typeface="Libre Baskerville" panose="02000000000000000000" pitchFamily="2" charset="0"/>
              </a:defRPr>
            </a:lvl3pPr>
            <a:lvl4pPr marL="1371600" indent="0">
              <a:buNone/>
              <a:defRPr sz="1400" b="1" i="0">
                <a:latin typeface="Libre Baskerville" panose="02000000000000000000" pitchFamily="2" charset="0"/>
              </a:defRPr>
            </a:lvl4pPr>
            <a:lvl5pPr marL="1828800" indent="0">
              <a:buNone/>
              <a:defRPr sz="1400"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PROJECT OR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8813875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162">
          <p15:clr>
            <a:srgbClr val="5ACBF0"/>
          </p15:clr>
        </p15:guide>
        <p15:guide id="3" orient="horz" pos="1298">
          <p15:clr>
            <a:srgbClr val="5ACBF0"/>
          </p15:clr>
        </p15:guide>
        <p15:guide id="4" pos="1980">
          <p15:clr>
            <a:srgbClr val="A4A3A4"/>
          </p15:clr>
        </p15:guide>
        <p15:guide id="5" pos="5813">
          <p15:clr>
            <a:srgbClr val="5ACBF0"/>
          </p15:clr>
        </p15:guide>
        <p15:guide id="6" pos="2094">
          <p15:clr>
            <a:srgbClr val="5ACBF0"/>
          </p15:clr>
        </p15:guide>
        <p15:guide id="7" pos="1867">
          <p15:clr>
            <a:srgbClr val="5ACBF0"/>
          </p15:clr>
        </p15:guide>
        <p15:guide id="8" pos="5700">
          <p15:clr>
            <a:srgbClr val="A4A3A4"/>
          </p15:clr>
        </p15:guide>
        <p15:guide id="9" pos="5586">
          <p15:clr>
            <a:srgbClr val="5ACBF0"/>
          </p15:clr>
        </p15:guide>
        <p15:guide id="10" pos="3727">
          <p15:clr>
            <a:srgbClr val="5ACBF0"/>
          </p15:clr>
        </p15:guide>
        <p15:guide id="11" pos="3953">
          <p15:clr>
            <a:srgbClr val="5ACBF0"/>
          </p15:clr>
        </p15:guide>
        <p15:guide id="12" pos="3840">
          <p15:clr>
            <a:srgbClr val="A4A3A4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/3, 2/3 Feature Image (Apr-2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16842F9-CDAF-98AC-0940-6C0BF99DB7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906060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16842F9-CDAF-98AC-0940-6C0BF99DB7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tree with green leaves&#10;&#10;Description automatically generated">
            <a:extLst>
              <a:ext uri="{FF2B5EF4-FFF2-40B4-BE49-F238E27FC236}">
                <a16:creationId xmlns:a16="http://schemas.microsoft.com/office/drawing/2014/main" id="{F9BC1A40-7E1C-E392-5E2B-5D13C9441F5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6344093" cy="685800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0F743-7583-E24A-91BB-F7A1FA002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75951" y="6349428"/>
            <a:ext cx="1054848" cy="183600"/>
          </a:xfrm>
        </p:spPr>
        <p:txBody>
          <a:bodyPr/>
          <a:lstStyle/>
          <a:p>
            <a:fld id="{C6A366F5-ADD2-924A-9CC9-AAF3C608492C}" type="slidenum">
              <a:rPr lang="en-GB" smtClean="0"/>
              <a:t>‹#›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F892896-DF6C-E515-B0F1-1891294BF76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54368" y="6349428"/>
            <a:ext cx="4500562" cy="184544"/>
          </a:xfrm>
        </p:spPr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FFB5A96-166E-F381-BC30-8448C55C713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485437" y="2946723"/>
            <a:ext cx="7335088" cy="1836737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65B54CAC-92AC-931B-A490-45D53F536EC1}"/>
              </a:ext>
            </a:extLst>
          </p:cNvPr>
          <p:cNvSpPr>
            <a:spLocks noGrp="1" noChangeAspect="1"/>
          </p:cNvSpPr>
          <p:nvPr>
            <p:ph type="title" hasCustomPrompt="1"/>
          </p:nvPr>
        </p:nvSpPr>
        <p:spPr>
          <a:xfrm>
            <a:off x="4485436" y="1416634"/>
            <a:ext cx="6263805" cy="75189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1/3, 2/3 Feature Image Blank</a:t>
            </a:r>
            <a:br>
              <a:rPr lang="en-GB" dirty="0"/>
            </a:br>
            <a:endParaRPr lang="en-GB" dirty="0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17C26FBF-97EF-ACC5-7B12-A1E359336AA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75163" y="2340301"/>
            <a:ext cx="7367111" cy="44099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1135620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366" userDrawn="1">
          <p15:clr>
            <a:srgbClr val="5ACBF0"/>
          </p15:clr>
        </p15:guide>
        <p15:guide id="3" orient="horz" pos="1502" userDrawn="1">
          <p15:clr>
            <a:srgbClr val="5ACBF0"/>
          </p15:clr>
        </p15:guide>
        <p15:guide id="4" pos="2593">
          <p15:clr>
            <a:srgbClr val="5ACBF0"/>
          </p15:clr>
        </p15:guide>
        <p15:guide id="6" pos="2366">
          <p15:clr>
            <a:srgbClr val="5ACBF0"/>
          </p15:clr>
        </p15:guide>
        <p15:guide id="7" pos="2819">
          <p15:clr>
            <a:srgbClr val="5ACBF0"/>
          </p15:clr>
        </p15:guide>
        <p15:guide id="8" orient="horz" pos="1752" userDrawn="1">
          <p15:clr>
            <a:srgbClr val="5ACBF0"/>
          </p15:clr>
        </p15:guide>
        <p15:guide id="9" orient="horz" pos="1865" userDrawn="1">
          <p15:clr>
            <a:srgbClr val="5ACBF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, 1/3 Fea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2039711D-FC2A-F673-7291-9A816E3643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317486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039711D-FC2A-F673-7291-9A816E3643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>
            <a:extLst>
              <a:ext uri="{FF2B5EF4-FFF2-40B4-BE49-F238E27FC236}">
                <a16:creationId xmlns:a16="http://schemas.microsoft.com/office/drawing/2014/main" id="{264B08AF-2CBF-1510-ECC4-DB304CACD914}"/>
              </a:ext>
            </a:extLst>
          </p:cNvPr>
          <p:cNvSpPr/>
          <p:nvPr/>
        </p:nvSpPr>
        <p:spPr>
          <a:xfrm>
            <a:off x="8075613" y="279424"/>
            <a:ext cx="4116387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0F743-7583-E24A-91BB-F7A1FA002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75951" y="6349428"/>
            <a:ext cx="1054848" cy="183600"/>
          </a:xfrm>
        </p:spPr>
        <p:txBody>
          <a:bodyPr/>
          <a:lstStyle/>
          <a:p>
            <a:fld id="{C6A366F5-ADD2-924A-9CC9-AAF3C608492C}" type="slidenum">
              <a:rPr lang="en-GB" smtClean="0"/>
              <a:t>‹#›</a:t>
            </a:fld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1135705-09E6-131B-9C0F-3E65A1BA870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60001" y="1431612"/>
            <a:ext cx="7356837" cy="3174654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B092633C-375F-0078-3487-1E72A061522F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8435975" y="1434060"/>
            <a:ext cx="3398100" cy="3156330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>
                <a:solidFill>
                  <a:schemeClr val="bg1"/>
                </a:solidFill>
              </a:defRPr>
            </a:lvl1pPr>
            <a:lvl2pPr marL="685800" indent="-228600">
              <a:buFont typeface="Wingdings" pitchFamily="2" charset="2"/>
              <a:buChar char="§"/>
              <a:defRPr sz="1200">
                <a:solidFill>
                  <a:schemeClr val="bg1"/>
                </a:solidFill>
              </a:defRPr>
            </a:lvl2pPr>
            <a:lvl3pPr marL="1143000" indent="-228600">
              <a:buFont typeface="Wingdings" pitchFamily="2" charset="2"/>
              <a:buChar char="§"/>
              <a:defRPr sz="1200">
                <a:solidFill>
                  <a:schemeClr val="bg1"/>
                </a:solidFill>
              </a:defRPr>
            </a:lvl3pPr>
            <a:lvl4pPr marL="1600200" indent="-228600">
              <a:buFont typeface="Wingdings" pitchFamily="2" charset="2"/>
              <a:buChar char="§"/>
              <a:defRPr sz="1200">
                <a:solidFill>
                  <a:schemeClr val="bg1"/>
                </a:solidFill>
              </a:defRPr>
            </a:lvl4pPr>
            <a:lvl5pPr marL="2057400" indent="-228600">
              <a:buFont typeface="Wingdings" pitchFamily="2" charset="2"/>
              <a:buChar char="§"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" name="Footer Placeholder 7">
            <a:extLst>
              <a:ext uri="{FF2B5EF4-FFF2-40B4-BE49-F238E27FC236}">
                <a16:creationId xmlns:a16="http://schemas.microsoft.com/office/drawing/2014/main" id="{71BB67C4-48E6-DADD-4C10-EB1525B40C3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8435974" y="6173942"/>
            <a:ext cx="2318955" cy="404634"/>
          </a:xfrm>
        </p:spPr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EAB3F4D7-C605-B332-CDC9-564824729B0C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370510" y="330661"/>
            <a:ext cx="10153403" cy="7676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GB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05B1546C-6BD4-AB8F-ADF5-5DF573B32EE1}"/>
              </a:ext>
            </a:extLst>
          </p:cNvPr>
          <p:cNvPicPr>
            <a:picLocks noChangeAspect="1"/>
          </p:cNvPicPr>
          <p:nvPr userDrawn="1"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905599" y="359987"/>
            <a:ext cx="925200" cy="738338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FC39E2-047E-F869-00B8-8C0D0F2B0BD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6344247"/>
            <a:ext cx="5903913" cy="18454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i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sz="1400" b="1" i="0">
                <a:latin typeface="Libre Baskerville" panose="02000000000000000000" pitchFamily="2" charset="0"/>
              </a:defRPr>
            </a:lvl2pPr>
            <a:lvl3pPr marL="914400" indent="0">
              <a:buNone/>
              <a:defRPr sz="1400" b="1" i="0">
                <a:latin typeface="Libre Baskerville" panose="02000000000000000000" pitchFamily="2" charset="0"/>
              </a:defRPr>
            </a:lvl3pPr>
            <a:lvl4pPr marL="1371600" indent="0">
              <a:buNone/>
              <a:defRPr sz="1400" b="1" i="0">
                <a:latin typeface="Libre Baskerville" panose="02000000000000000000" pitchFamily="2" charset="0"/>
              </a:defRPr>
            </a:lvl4pPr>
            <a:lvl5pPr marL="1828800" indent="0">
              <a:buNone/>
              <a:defRPr sz="1400"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PROJECT OR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344546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4861">
          <p15:clr>
            <a:srgbClr val="5ACBF0"/>
          </p15:clr>
        </p15:guide>
        <p15:guide id="5" pos="5087">
          <p15:clr>
            <a:srgbClr val="5ACBF0"/>
          </p15:clr>
        </p15:guide>
        <p15:guide id="11" pos="5314">
          <p15:clr>
            <a:srgbClr val="5ACBF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, 1/3 Feature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B2DFC506-6992-837E-7A6A-A5D1A922F2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629563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2DFC506-6992-837E-7A6A-A5D1A922F2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>
            <a:extLst>
              <a:ext uri="{FF2B5EF4-FFF2-40B4-BE49-F238E27FC236}">
                <a16:creationId xmlns:a16="http://schemas.microsoft.com/office/drawing/2014/main" id="{264B08AF-2CBF-1510-ECC4-DB304CACD914}"/>
              </a:ext>
            </a:extLst>
          </p:cNvPr>
          <p:cNvSpPr/>
          <p:nvPr/>
        </p:nvSpPr>
        <p:spPr>
          <a:xfrm>
            <a:off x="8075612" y="0"/>
            <a:ext cx="4116387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0F743-7583-E24A-91BB-F7A1FA002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75951" y="6349428"/>
            <a:ext cx="1054848" cy="183600"/>
          </a:xfrm>
        </p:spPr>
        <p:txBody>
          <a:bodyPr/>
          <a:lstStyle/>
          <a:p>
            <a:fld id="{C6A366F5-ADD2-924A-9CC9-AAF3C608492C}" type="slidenum">
              <a:rPr lang="en-GB" smtClean="0"/>
              <a:t>‹#›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F892896-DF6C-E515-B0F1-1891294BF76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8435974" y="6173942"/>
            <a:ext cx="2318955" cy="404634"/>
          </a:xfrm>
        </p:spPr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1135705-09E6-131B-9C0F-3E65A1BA870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60001" y="2045040"/>
            <a:ext cx="7357686" cy="2404352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AF6BAAA-CEB5-F7EB-B5DE-0A93BCC10C1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1477" y="1406508"/>
            <a:ext cx="7357686" cy="438167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Column 1 Heading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B092633C-375F-0078-3487-1E72A061522F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8449525" y="2045040"/>
            <a:ext cx="3384549" cy="2404352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>
                <a:solidFill>
                  <a:schemeClr val="bg2"/>
                </a:solidFill>
              </a:defRPr>
            </a:lvl1pPr>
            <a:lvl2pPr marL="685800" indent="-228600">
              <a:buFont typeface="Wingdings" pitchFamily="2" charset="2"/>
              <a:buChar char="§"/>
              <a:defRPr sz="1200">
                <a:solidFill>
                  <a:schemeClr val="bg2"/>
                </a:solidFill>
              </a:defRPr>
            </a:lvl2pPr>
            <a:lvl3pPr marL="1143000" indent="-228600">
              <a:buFont typeface="Wingdings" pitchFamily="2" charset="2"/>
              <a:buChar char="§"/>
              <a:defRPr sz="1200">
                <a:solidFill>
                  <a:schemeClr val="bg2"/>
                </a:solidFill>
              </a:defRPr>
            </a:lvl3pPr>
            <a:lvl4pPr marL="1600200" indent="-228600">
              <a:buFont typeface="Wingdings" pitchFamily="2" charset="2"/>
              <a:buChar char="§"/>
              <a:defRPr sz="1200">
                <a:solidFill>
                  <a:schemeClr val="bg2"/>
                </a:solidFill>
              </a:defRPr>
            </a:lvl4pPr>
            <a:lvl5pPr marL="2057400" indent="-228600">
              <a:buFont typeface="Wingdings" pitchFamily="2" charset="2"/>
              <a:buChar char="§"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ABD0937E-1F53-C7C9-13FC-8AE70762923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435975" y="1406508"/>
            <a:ext cx="3384549" cy="437595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/>
              <a:t>Column 2 Heading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34E79EA-F7EE-B49A-506F-5AFCC1E099D8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370510" y="330661"/>
            <a:ext cx="10153403" cy="7676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GB" dirty="0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26DAAB40-3DA7-BCA3-1B18-BDD99706B51B}"/>
              </a:ext>
            </a:extLst>
          </p:cNvPr>
          <p:cNvPicPr>
            <a:picLocks noChangeAspect="1"/>
          </p:cNvPicPr>
          <p:nvPr userDrawn="1"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905599" y="359987"/>
            <a:ext cx="925200" cy="738338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25F4F94-EC7C-0B9B-BA7B-2CA37D101F7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6344247"/>
            <a:ext cx="5903913" cy="18454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i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sz="1400" b="1" i="0">
                <a:latin typeface="Libre Baskerville" panose="02000000000000000000" pitchFamily="2" charset="0"/>
              </a:defRPr>
            </a:lvl2pPr>
            <a:lvl3pPr marL="914400" indent="0">
              <a:buNone/>
              <a:defRPr sz="1400" b="1" i="0">
                <a:latin typeface="Libre Baskerville" panose="02000000000000000000" pitchFamily="2" charset="0"/>
              </a:defRPr>
            </a:lvl3pPr>
            <a:lvl4pPr marL="1371600" indent="0">
              <a:buNone/>
              <a:defRPr sz="1400" b="1" i="0">
                <a:latin typeface="Libre Baskerville" panose="02000000000000000000" pitchFamily="2" charset="0"/>
              </a:defRPr>
            </a:lvl4pPr>
            <a:lvl5pPr marL="1828800" indent="0">
              <a:buNone/>
              <a:defRPr sz="1400"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PROJECT OR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9719242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162">
          <p15:clr>
            <a:srgbClr val="5ACBF0"/>
          </p15:clr>
        </p15:guide>
        <p15:guide id="3" orient="horz" pos="1298">
          <p15:clr>
            <a:srgbClr val="5ACBF0"/>
          </p15:clr>
        </p15:guide>
        <p15:guide id="4" pos="4861">
          <p15:clr>
            <a:srgbClr val="5ACBF0"/>
          </p15:clr>
        </p15:guide>
        <p15:guide id="5" pos="5087">
          <p15:clr>
            <a:srgbClr val="5ACBF0"/>
          </p15:clr>
        </p15:guide>
        <p15:guide id="8" pos="2593">
          <p15:clr>
            <a:srgbClr val="5ACBF0"/>
          </p15:clr>
        </p15:guide>
        <p15:guide id="9" pos="2706">
          <p15:clr>
            <a:srgbClr val="5ACBF0"/>
          </p15:clr>
        </p15:guide>
        <p15:guide id="10" pos="2479">
          <p15:clr>
            <a:srgbClr val="5ACBF0"/>
          </p15:clr>
        </p15:guide>
        <p15:guide id="11" pos="5314">
          <p15:clr>
            <a:srgbClr val="5ACBF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l_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8A09521-D57A-243E-DDB6-F365213152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169424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8A09521-D57A-243E-DDB6-F365213152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0F743-7583-E24A-91BB-F7A1FA002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75951" y="6349428"/>
            <a:ext cx="1054848" cy="183600"/>
          </a:xfrm>
        </p:spPr>
        <p:txBody>
          <a:bodyPr/>
          <a:lstStyle/>
          <a:p>
            <a:fld id="{C6A366F5-ADD2-924A-9CC9-AAF3C608492C}" type="slidenum">
              <a:rPr lang="en-GB" smtClean="0"/>
              <a:t>‹#›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F892896-DF6C-E515-B0F1-1891294BF76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54368" y="6349428"/>
            <a:ext cx="4500562" cy="184544"/>
          </a:xfrm>
        </p:spPr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1135705-09E6-131B-9C0F-3E65A1BA870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60001" y="1433204"/>
            <a:ext cx="5378190" cy="2593974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" name="2x2_top_left">
            <a:extLst>
              <a:ext uri="{FF2B5EF4-FFF2-40B4-BE49-F238E27FC236}">
                <a16:creationId xmlns:a16="http://schemas.microsoft.com/office/drawing/2014/main" id="{82D4F254-8E89-3A04-60AA-4349B680C996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7394749" y="1637544"/>
            <a:ext cx="2082455" cy="2083741"/>
          </a:xfrm>
          <a:prstGeom prst="rect">
            <a:avLst/>
          </a:prstGeom>
        </p:spPr>
        <p:txBody>
          <a:bodyPr lIns="0" tIns="0" rIns="0" bIns="0" anchor="ctr"/>
          <a:lstStyle>
            <a:lvl1pPr marL="228600" indent="-228600" algn="ctr">
              <a:buFont typeface="Wingdings" pitchFamily="2" charset="2"/>
              <a:buNone/>
              <a:defRPr sz="900"/>
            </a:lvl1pPr>
            <a:lvl2pPr marL="685800" indent="-228600" algn="ctr">
              <a:buFont typeface="Wingdings" pitchFamily="2" charset="2"/>
              <a:buNone/>
              <a:defRPr sz="900"/>
            </a:lvl2pPr>
            <a:lvl3pPr marL="1143000" indent="-228600" algn="ctr">
              <a:buFont typeface="Wingdings" pitchFamily="2" charset="2"/>
              <a:buNone/>
              <a:defRPr sz="900"/>
            </a:lvl3pPr>
            <a:lvl4pPr marL="1600200" indent="-228600" algn="ctr">
              <a:buFont typeface="Wingdings" pitchFamily="2" charset="2"/>
              <a:buNone/>
              <a:defRPr sz="900"/>
            </a:lvl4pPr>
            <a:lvl5pPr marL="2057400" indent="-228600" algn="ctr">
              <a:buFont typeface="Wingdings" pitchFamily="2" charset="2"/>
              <a:buNone/>
              <a:defRPr sz="9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DD1592C7-3CFB-E66A-0DE6-06CA0DE1734F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370510" y="330661"/>
            <a:ext cx="10153403" cy="7676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C96166C-E97E-1D64-9000-D0D56B7FE16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6344247"/>
            <a:ext cx="5903913" cy="18454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i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sz="1400" b="1" i="0">
                <a:latin typeface="Libre Baskerville" panose="02000000000000000000" pitchFamily="2" charset="0"/>
              </a:defRPr>
            </a:lvl2pPr>
            <a:lvl3pPr marL="914400" indent="0">
              <a:buNone/>
              <a:defRPr sz="1400" b="1" i="0">
                <a:latin typeface="Libre Baskerville" panose="02000000000000000000" pitchFamily="2" charset="0"/>
              </a:defRPr>
            </a:lvl3pPr>
            <a:lvl4pPr marL="1371600" indent="0">
              <a:buNone/>
              <a:defRPr sz="1400" b="1" i="0">
                <a:latin typeface="Libre Baskerville" panose="02000000000000000000" pitchFamily="2" charset="0"/>
              </a:defRPr>
            </a:lvl4pPr>
            <a:lvl5pPr marL="1828800" indent="0">
              <a:buNone/>
              <a:defRPr sz="1400"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PROJECT OR SECTION TITLE</a:t>
            </a:r>
          </a:p>
        </p:txBody>
      </p:sp>
      <p:sp>
        <p:nvSpPr>
          <p:cNvPr id="5" name="2x2_top_right">
            <a:extLst>
              <a:ext uri="{FF2B5EF4-FFF2-40B4-BE49-F238E27FC236}">
                <a16:creationId xmlns:a16="http://schemas.microsoft.com/office/drawing/2014/main" id="{FB9B8448-9BE6-8B3D-83B3-E1BA1AF97F4F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9748343" y="1637544"/>
            <a:ext cx="2082455" cy="2083741"/>
          </a:xfrm>
          <a:prstGeom prst="rect">
            <a:avLst/>
          </a:prstGeom>
        </p:spPr>
        <p:txBody>
          <a:bodyPr lIns="0" tIns="0" rIns="0" bIns="0" anchor="ctr"/>
          <a:lstStyle>
            <a:lvl1pPr marL="228600" indent="-228600" algn="ctr">
              <a:buFont typeface="Wingdings" pitchFamily="2" charset="2"/>
              <a:buNone/>
              <a:defRPr sz="900"/>
            </a:lvl1pPr>
            <a:lvl2pPr marL="685800" indent="-228600" algn="ctr">
              <a:buFont typeface="Wingdings" pitchFamily="2" charset="2"/>
              <a:buNone/>
              <a:defRPr sz="900"/>
            </a:lvl2pPr>
            <a:lvl3pPr marL="1143000" indent="-228600" algn="ctr">
              <a:buFont typeface="Wingdings" pitchFamily="2" charset="2"/>
              <a:buNone/>
              <a:defRPr sz="900"/>
            </a:lvl3pPr>
            <a:lvl4pPr marL="1600200" indent="-228600" algn="ctr">
              <a:buFont typeface="Wingdings" pitchFamily="2" charset="2"/>
              <a:buNone/>
              <a:defRPr sz="900"/>
            </a:lvl4pPr>
            <a:lvl5pPr marL="2057400" indent="-228600" algn="ctr">
              <a:buFont typeface="Wingdings" pitchFamily="2" charset="2"/>
              <a:buNone/>
              <a:defRPr sz="9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0" name="2x2_bottom_left">
            <a:extLst>
              <a:ext uri="{FF2B5EF4-FFF2-40B4-BE49-F238E27FC236}">
                <a16:creationId xmlns:a16="http://schemas.microsoft.com/office/drawing/2014/main" id="{41B623AC-49BB-86BB-6870-10C55A5E98D4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7394749" y="3851825"/>
            <a:ext cx="2082455" cy="2083741"/>
          </a:xfrm>
          <a:prstGeom prst="rect">
            <a:avLst/>
          </a:prstGeom>
        </p:spPr>
        <p:txBody>
          <a:bodyPr lIns="0" tIns="0" rIns="0" bIns="0" anchor="ctr"/>
          <a:lstStyle>
            <a:lvl1pPr marL="228600" indent="-228600" algn="ctr">
              <a:buFont typeface="Wingdings" pitchFamily="2" charset="2"/>
              <a:buNone/>
              <a:defRPr sz="900"/>
            </a:lvl1pPr>
            <a:lvl2pPr marL="685800" indent="-228600" algn="ctr">
              <a:buFont typeface="Wingdings" pitchFamily="2" charset="2"/>
              <a:buNone/>
              <a:defRPr sz="900"/>
            </a:lvl2pPr>
            <a:lvl3pPr marL="1143000" indent="-228600" algn="ctr">
              <a:buFont typeface="Wingdings" pitchFamily="2" charset="2"/>
              <a:buNone/>
              <a:defRPr sz="900"/>
            </a:lvl3pPr>
            <a:lvl4pPr marL="1600200" indent="-228600" algn="ctr">
              <a:buFont typeface="Wingdings" pitchFamily="2" charset="2"/>
              <a:buNone/>
              <a:defRPr sz="900"/>
            </a:lvl4pPr>
            <a:lvl5pPr marL="2057400" indent="-228600" algn="ctr">
              <a:buFont typeface="Wingdings" pitchFamily="2" charset="2"/>
              <a:buNone/>
              <a:defRPr sz="9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1" name="2x2_bottom_right">
            <a:extLst>
              <a:ext uri="{FF2B5EF4-FFF2-40B4-BE49-F238E27FC236}">
                <a16:creationId xmlns:a16="http://schemas.microsoft.com/office/drawing/2014/main" id="{6F0BF736-1FB2-2038-EF0D-BF67742F8E65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748343" y="3851825"/>
            <a:ext cx="2082455" cy="2083741"/>
          </a:xfrm>
          <a:prstGeom prst="rect">
            <a:avLst/>
          </a:prstGeom>
        </p:spPr>
        <p:txBody>
          <a:bodyPr lIns="0" tIns="0" rIns="0" bIns="0" anchor="ctr"/>
          <a:lstStyle>
            <a:lvl1pPr marL="228600" indent="-228600" algn="ctr">
              <a:buFont typeface="Wingdings" pitchFamily="2" charset="2"/>
              <a:buNone/>
              <a:defRPr sz="900"/>
            </a:lvl1pPr>
            <a:lvl2pPr marL="685800" indent="-228600" algn="ctr">
              <a:buFont typeface="Wingdings" pitchFamily="2" charset="2"/>
              <a:buNone/>
              <a:defRPr sz="900"/>
            </a:lvl2pPr>
            <a:lvl3pPr marL="1143000" indent="-228600" algn="ctr">
              <a:buFont typeface="Wingdings" pitchFamily="2" charset="2"/>
              <a:buNone/>
              <a:defRPr sz="900"/>
            </a:lvl3pPr>
            <a:lvl4pPr marL="1600200" indent="-228600" algn="ctr">
              <a:buFont typeface="Wingdings" pitchFamily="2" charset="2"/>
              <a:buNone/>
              <a:defRPr sz="900"/>
            </a:lvl4pPr>
            <a:lvl5pPr marL="2057400" indent="-228600" algn="ctr">
              <a:buFont typeface="Wingdings" pitchFamily="2" charset="2"/>
              <a:buNone/>
              <a:defRPr sz="9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2x2_header">
            <a:extLst>
              <a:ext uri="{FF2B5EF4-FFF2-40B4-BE49-F238E27FC236}">
                <a16:creationId xmlns:a16="http://schemas.microsoft.com/office/drawing/2014/main" id="{A564B8D5-B497-D978-839A-CF328214AA6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394749" y="1293681"/>
            <a:ext cx="4436049" cy="426646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i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2x2 Header</a:t>
            </a:r>
          </a:p>
        </p:txBody>
      </p:sp>
      <p:sp>
        <p:nvSpPr>
          <p:cNvPr id="14" name="2x2_y-axis_title">
            <a:extLst>
              <a:ext uri="{FF2B5EF4-FFF2-40B4-BE49-F238E27FC236}">
                <a16:creationId xmlns:a16="http://schemas.microsoft.com/office/drawing/2014/main" id="{57211DB1-C740-993D-BBF4-5D629F45BB6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903218" y="2250830"/>
            <a:ext cx="355962" cy="3336053"/>
          </a:xfrm>
          <a:prstGeom prst="rect">
            <a:avLst/>
          </a:prstGeom>
        </p:spPr>
        <p:txBody>
          <a:bodyPr vert="vert270" lIns="0" tIns="0" rIns="0" bIns="0" anchor="t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100" b="1" i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2x2 y-axis title</a:t>
            </a:r>
          </a:p>
        </p:txBody>
      </p:sp>
      <p:sp>
        <p:nvSpPr>
          <p:cNvPr id="15" name="2x2_x-axis_title">
            <a:extLst>
              <a:ext uri="{FF2B5EF4-FFF2-40B4-BE49-F238E27FC236}">
                <a16:creationId xmlns:a16="http://schemas.microsoft.com/office/drawing/2014/main" id="{90BA33F7-840D-252E-E466-5EB8E1E265D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908053" y="6066106"/>
            <a:ext cx="3657599" cy="278141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100" b="1" i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2x2 x-axis title</a:t>
            </a:r>
          </a:p>
        </p:txBody>
      </p:sp>
      <p:sp>
        <p:nvSpPr>
          <p:cNvPr id="17" name="2x2_y-axis_extent_upper">
            <a:extLst>
              <a:ext uri="{FF2B5EF4-FFF2-40B4-BE49-F238E27FC236}">
                <a16:creationId xmlns:a16="http://schemas.microsoft.com/office/drawing/2014/main" id="{198B2382-455B-E20D-7888-0004757E80B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460667" y="1632269"/>
            <a:ext cx="798513" cy="228600"/>
          </a:xfrm>
          <a:prstGeom prst="rect">
            <a:avLst/>
          </a:prstGeom>
        </p:spPr>
        <p:txBody>
          <a:bodyPr/>
          <a:lstStyle>
            <a:lvl1pPr marL="9525" indent="-9525" algn="r">
              <a:buNone/>
              <a:tabLst/>
              <a:defRPr sz="900" i="1"/>
            </a:lvl1pPr>
            <a:lvl2pPr marL="9525" indent="-9525" algn="r">
              <a:buNone/>
              <a:tabLst/>
              <a:defRPr sz="900" i="1"/>
            </a:lvl2pPr>
            <a:lvl3pPr marL="9525" indent="-9525" algn="r">
              <a:buNone/>
              <a:tabLst/>
              <a:defRPr sz="900" i="1"/>
            </a:lvl3pPr>
            <a:lvl4pPr marL="9525" indent="-9525" algn="r">
              <a:buNone/>
              <a:tabLst/>
              <a:defRPr sz="900" i="1"/>
            </a:lvl4pPr>
            <a:lvl5pPr marL="9525" indent="-9525" algn="r">
              <a:buNone/>
              <a:tabLst/>
              <a:defRPr sz="900" i="1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8" name="2x2_x-axis_extent_upper">
            <a:extLst>
              <a:ext uri="{FF2B5EF4-FFF2-40B4-BE49-F238E27FC236}">
                <a16:creationId xmlns:a16="http://schemas.microsoft.com/office/drawing/2014/main" id="{21015995-1F64-42E9-DB50-8B79931E737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1032285" y="6066106"/>
            <a:ext cx="798513" cy="228600"/>
          </a:xfrm>
          <a:prstGeom prst="rect">
            <a:avLst/>
          </a:prstGeom>
        </p:spPr>
        <p:txBody>
          <a:bodyPr/>
          <a:lstStyle>
            <a:lvl1pPr marL="9525" indent="-9525" algn="r">
              <a:buNone/>
              <a:tabLst/>
              <a:defRPr sz="900" i="1"/>
            </a:lvl1pPr>
            <a:lvl2pPr marL="9525" indent="-9525" algn="r">
              <a:buNone/>
              <a:tabLst/>
              <a:defRPr sz="900" i="1"/>
            </a:lvl2pPr>
            <a:lvl3pPr marL="9525" indent="-9525" algn="r">
              <a:buNone/>
              <a:tabLst/>
              <a:defRPr sz="900" i="1"/>
            </a:lvl3pPr>
            <a:lvl4pPr marL="9525" indent="-9525" algn="r">
              <a:buNone/>
              <a:tabLst/>
              <a:defRPr sz="900" i="1"/>
            </a:lvl4pPr>
            <a:lvl5pPr marL="9525" indent="-9525" algn="r">
              <a:buNone/>
              <a:tabLst/>
              <a:defRPr sz="900" i="1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2x2_y-axis_extent_lower">
            <a:extLst>
              <a:ext uri="{FF2B5EF4-FFF2-40B4-BE49-F238E27FC236}">
                <a16:creationId xmlns:a16="http://schemas.microsoft.com/office/drawing/2014/main" id="{03CD0C5E-8CF5-E265-8A8B-6495D3DCE5B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460666" y="5706966"/>
            <a:ext cx="798513" cy="228600"/>
          </a:xfrm>
          <a:prstGeom prst="rect">
            <a:avLst/>
          </a:prstGeom>
        </p:spPr>
        <p:txBody>
          <a:bodyPr/>
          <a:lstStyle>
            <a:lvl1pPr marL="9525" indent="-9525" algn="r">
              <a:buNone/>
              <a:tabLst/>
              <a:defRPr sz="900" i="1"/>
            </a:lvl1pPr>
            <a:lvl2pPr marL="9525" indent="-9525" algn="r">
              <a:buNone/>
              <a:tabLst/>
              <a:defRPr sz="900" i="1"/>
            </a:lvl2pPr>
            <a:lvl3pPr marL="9525" indent="-9525" algn="r">
              <a:buNone/>
              <a:tabLst/>
              <a:defRPr sz="900" i="1"/>
            </a:lvl3pPr>
            <a:lvl4pPr marL="9525" indent="-9525" algn="r">
              <a:buNone/>
              <a:tabLst/>
              <a:defRPr sz="900" i="1"/>
            </a:lvl4pPr>
            <a:lvl5pPr marL="9525" indent="-9525" algn="r">
              <a:buNone/>
              <a:tabLst/>
              <a:defRPr sz="900" i="1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6" name="2x2_x-axis_extent_lower">
            <a:extLst>
              <a:ext uri="{FF2B5EF4-FFF2-40B4-BE49-F238E27FC236}">
                <a16:creationId xmlns:a16="http://schemas.microsoft.com/office/drawing/2014/main" id="{ED83D7F3-4375-3EF3-423F-3D35DFACA7D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382424" y="6060925"/>
            <a:ext cx="798513" cy="228600"/>
          </a:xfrm>
          <a:prstGeom prst="rect">
            <a:avLst/>
          </a:prstGeom>
        </p:spPr>
        <p:txBody>
          <a:bodyPr/>
          <a:lstStyle>
            <a:lvl1pPr marL="9525" indent="-9525" algn="l">
              <a:buNone/>
              <a:tabLst/>
              <a:defRPr sz="900" i="1"/>
            </a:lvl1pPr>
            <a:lvl2pPr marL="9525" indent="-9525" algn="l">
              <a:buNone/>
              <a:tabLst/>
              <a:defRPr sz="900" i="1"/>
            </a:lvl2pPr>
            <a:lvl3pPr marL="9525" indent="-9525" algn="l">
              <a:buNone/>
              <a:tabLst/>
              <a:defRPr sz="900" i="1"/>
            </a:lvl3pPr>
            <a:lvl4pPr marL="9525" indent="-9525" algn="l">
              <a:buNone/>
              <a:tabLst/>
              <a:defRPr sz="900" i="1"/>
            </a:lvl4pPr>
            <a:lvl5pPr marL="9525" indent="-9525" algn="l">
              <a:buNone/>
              <a:tabLst/>
              <a:defRPr sz="900" i="1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064818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2593">
          <p15:clr>
            <a:srgbClr val="5ACBF0"/>
          </p15:clr>
        </p15:guide>
        <p15:guide id="6" pos="2366">
          <p15:clr>
            <a:srgbClr val="5ACBF0"/>
          </p15:clr>
        </p15:guide>
        <p15:guide id="7" pos="2819">
          <p15:clr>
            <a:srgbClr val="5ACBF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subtitle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CA60F5B6-49FB-7E35-862C-3DFB9A67A2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5009242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A60F5B6-49FB-7E35-862C-3DFB9A67A2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0F743-7583-E24A-91BB-F7A1FA002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75951" y="6349428"/>
            <a:ext cx="1054848" cy="183600"/>
          </a:xfrm>
        </p:spPr>
        <p:txBody>
          <a:bodyPr/>
          <a:lstStyle/>
          <a:p>
            <a:fld id="{C6A366F5-ADD2-924A-9CC9-AAF3C608492C}" type="slidenum">
              <a:rPr lang="en-GB" smtClean="0"/>
              <a:t>‹#›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F892896-DF6C-E515-B0F1-1891294BF76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54368" y="6349428"/>
            <a:ext cx="4500562" cy="184544"/>
          </a:xfrm>
        </p:spPr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1135705-09E6-131B-9C0F-3E65A1BA870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70510" y="2043055"/>
            <a:ext cx="11449050" cy="1836737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AF6BAAA-CEB5-F7EB-B5DE-0A93BCC10C1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1475" y="1405215"/>
            <a:ext cx="11470799" cy="43946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Subtitle</a:t>
            </a:r>
          </a:p>
          <a:p>
            <a:pPr lvl="0"/>
            <a:endParaRPr lang="en-GB" dirty="0"/>
          </a:p>
          <a:p>
            <a:pPr lvl="0"/>
            <a:endParaRPr lang="en-GB" dirty="0"/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1A57B06D-C762-848C-56B5-A8712EED9AEE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370510" y="330661"/>
            <a:ext cx="10153403" cy="7676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GB"/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A8C73839-84AA-7917-B97D-364C3286F4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6344247"/>
            <a:ext cx="5903913" cy="18454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i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sz="1400" b="1" i="0">
                <a:latin typeface="Libre Baskerville" panose="02000000000000000000" pitchFamily="2" charset="0"/>
              </a:defRPr>
            </a:lvl2pPr>
            <a:lvl3pPr marL="914400" indent="0">
              <a:buNone/>
              <a:defRPr sz="1400" b="1" i="0">
                <a:latin typeface="Libre Baskerville" panose="02000000000000000000" pitchFamily="2" charset="0"/>
              </a:defRPr>
            </a:lvl3pPr>
            <a:lvl4pPr marL="1371600" indent="0">
              <a:buNone/>
              <a:defRPr sz="1400" b="1" i="0">
                <a:latin typeface="Libre Baskerville" panose="02000000000000000000" pitchFamily="2" charset="0"/>
              </a:defRPr>
            </a:lvl4pPr>
            <a:lvl5pPr marL="1828800" indent="0">
              <a:buNone/>
              <a:defRPr sz="1400"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PROJECT OR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274518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162">
          <p15:clr>
            <a:srgbClr val="5ACBF0"/>
          </p15:clr>
        </p15:guide>
        <p15:guide id="3" orient="horz" pos="1298">
          <p15:clr>
            <a:srgbClr val="5ACBF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yc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erson riding a bike on a hill&#10;&#10;Description automatically generated">
            <a:extLst>
              <a:ext uri="{FF2B5EF4-FFF2-40B4-BE49-F238E27FC236}">
                <a16:creationId xmlns:a16="http://schemas.microsoft.com/office/drawing/2014/main" id="{54953CE3-37B8-4893-3758-A61B654E3A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31679" y="2466975"/>
            <a:ext cx="6460322" cy="4391025"/>
          </a:xfrm>
          <a:prstGeom prst="rect">
            <a:avLst/>
          </a:prstGeom>
        </p:spPr>
      </p:pic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DD4F21CB-C707-B194-3AB8-BE3EAA3033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318091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D4F21CB-C707-B194-3AB8-BE3EAA3033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311AE40-2AEB-9CEC-D205-89EFDB047A7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1475" y="4852641"/>
            <a:ext cx="8326800" cy="72135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FontTx/>
              <a:buNone/>
              <a:defRPr lang="en-GB" sz="2400" b="1" dirty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>
              <a:lnSpc>
                <a:spcPct val="100000"/>
              </a:lnSpc>
              <a:spcBef>
                <a:spcPct val="0"/>
              </a:spcBef>
              <a:buNone/>
            </a:pPr>
            <a:r>
              <a:rPr lang="en-GB" dirty="0"/>
              <a:t>Project Title</a:t>
            </a:r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E57F75E7-34DD-C63F-74F6-E86AF1FDBB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527063"/>
            <a:ext cx="8338275" cy="1164000"/>
          </a:xfrm>
        </p:spPr>
        <p:txBody>
          <a:bodyPr vert="horz"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2" name="Text Placeholder 13">
            <a:extLst>
              <a:ext uri="{FF2B5EF4-FFF2-40B4-BE49-F238E27FC236}">
                <a16:creationId xmlns:a16="http://schemas.microsoft.com/office/drawing/2014/main" id="{05F493D8-F626-9875-4BD9-36AAD2F7C16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0000" y="6019800"/>
            <a:ext cx="8338275" cy="5080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 algn="l">
              <a:lnSpc>
                <a:spcPct val="100000"/>
              </a:lnSpc>
              <a:buFontTx/>
              <a:buNone/>
              <a:defRPr b="1">
                <a:latin typeface="+mj-lt"/>
              </a:defRPr>
            </a:lvl2pPr>
            <a:lvl3pPr marL="914400" indent="0" algn="l">
              <a:lnSpc>
                <a:spcPct val="100000"/>
              </a:lnSpc>
              <a:buFontTx/>
              <a:buNone/>
              <a:defRPr b="1">
                <a:latin typeface="+mj-lt"/>
              </a:defRPr>
            </a:lvl3pPr>
            <a:lvl4pPr marL="1371600" indent="0" algn="l">
              <a:lnSpc>
                <a:spcPct val="100000"/>
              </a:lnSpc>
              <a:buFontTx/>
              <a:buNone/>
              <a:defRPr b="1">
                <a:latin typeface="+mj-lt"/>
              </a:defRPr>
            </a:lvl4pPr>
            <a:lvl5pPr marL="1828800" indent="0" algn="l">
              <a:lnSpc>
                <a:spcPct val="100000"/>
              </a:lnSpc>
              <a:buFontTx/>
              <a:buNone/>
              <a:defRPr b="1">
                <a:latin typeface="+mj-lt"/>
              </a:defRPr>
            </a:lvl5pPr>
          </a:lstStyle>
          <a:p>
            <a:pPr lvl="0"/>
            <a:r>
              <a:rPr lang="en-GB" dirty="0"/>
              <a:t>PREPARED FOR: CLIENT NAME</a:t>
            </a:r>
          </a:p>
        </p:txBody>
      </p:sp>
    </p:spTree>
    <p:extLst>
      <p:ext uri="{BB962C8B-B14F-4D97-AF65-F5344CB8AC3E}">
        <p14:creationId xmlns:p14="http://schemas.microsoft.com/office/powerpoint/2010/main" val="23213922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92F7142C-09BD-D82F-AF4A-6A8026FC23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7833634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2F7142C-09BD-D82F-AF4A-6A8026FC23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0F743-7583-E24A-91BB-F7A1FA002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75951" y="6349428"/>
            <a:ext cx="1054848" cy="183600"/>
          </a:xfrm>
        </p:spPr>
        <p:txBody>
          <a:bodyPr/>
          <a:lstStyle/>
          <a:p>
            <a:fld id="{C6A366F5-ADD2-924A-9CC9-AAF3C608492C}" type="slidenum">
              <a:rPr lang="en-GB" smtClean="0"/>
              <a:t>‹#›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F892896-DF6C-E515-B0F1-1891294BF76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54368" y="6349428"/>
            <a:ext cx="4500562" cy="184544"/>
          </a:xfrm>
        </p:spPr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858F8E6-B21D-592B-DA38-F82B78345B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1401070"/>
            <a:ext cx="5556613" cy="865187"/>
          </a:xfrm>
          <a:prstGeom prst="rect">
            <a:avLst/>
          </a:prstGeom>
        </p:spPr>
        <p:txBody>
          <a:bodyPr vert="horz" anchor="t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en-GB"/>
              <a:t>A long title or piece of introduction copy can go here.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A520831-454F-17EE-5725-D84A4E72621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275388" y="1426008"/>
            <a:ext cx="5545136" cy="4537075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anose="05000000000000000000" pitchFamily="2" charset="2"/>
              <a:buChar char="§"/>
              <a:defRPr sz="1200"/>
            </a:lvl1pPr>
            <a:lvl2pPr marL="685800" indent="-228600">
              <a:buFont typeface="Wingdings" panose="05000000000000000000" pitchFamily="2" charset="2"/>
              <a:buChar char="§"/>
              <a:defRPr sz="1200"/>
            </a:lvl2pPr>
            <a:lvl3pPr marL="1143000" indent="-228600">
              <a:buFont typeface="Wingdings" panose="05000000000000000000" pitchFamily="2" charset="2"/>
              <a:buChar char="§"/>
              <a:defRPr sz="1200"/>
            </a:lvl3pPr>
            <a:lvl4pPr marL="1600200" indent="-228600">
              <a:buFont typeface="Wingdings" panose="05000000000000000000" pitchFamily="2" charset="2"/>
              <a:buChar char="§"/>
              <a:defRPr sz="1200"/>
            </a:lvl4pPr>
            <a:lvl5pPr marL="2057400" indent="-228600">
              <a:buFont typeface="Wingdings" panose="05000000000000000000" pitchFamily="2" charset="2"/>
              <a:buChar char="§"/>
              <a:defRPr sz="12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3826C55-B95B-2F31-BF55-BE01245758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6344247"/>
            <a:ext cx="5903913" cy="18454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i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sz="1400" b="1" i="0">
                <a:latin typeface="Libre Baskerville" panose="02000000000000000000" pitchFamily="2" charset="0"/>
              </a:defRPr>
            </a:lvl2pPr>
            <a:lvl3pPr marL="914400" indent="0">
              <a:buNone/>
              <a:defRPr sz="1400" b="1" i="0">
                <a:latin typeface="Libre Baskerville" panose="02000000000000000000" pitchFamily="2" charset="0"/>
              </a:defRPr>
            </a:lvl3pPr>
            <a:lvl4pPr marL="1371600" indent="0">
              <a:buNone/>
              <a:defRPr sz="1400" b="1" i="0">
                <a:latin typeface="Libre Baskerville" panose="02000000000000000000" pitchFamily="2" charset="0"/>
              </a:defRPr>
            </a:lvl4pPr>
            <a:lvl5pPr marL="1828800" indent="0">
              <a:buNone/>
              <a:defRPr sz="1400"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PROJECT OR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6348912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>
          <p15:clr>
            <a:srgbClr val="5ACBF0"/>
          </p15:clr>
        </p15:guide>
        <p15:guide id="2" pos="3953">
          <p15:clr>
            <a:srgbClr val="5ACBF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050A613B-596A-69A4-E5C6-4E6E2CD9EA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72532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0A613B-596A-69A4-E5C6-4E6E2CD9EA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0F743-7583-E24A-91BB-F7A1FA002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75951" y="6349428"/>
            <a:ext cx="1054848" cy="183600"/>
          </a:xfrm>
        </p:spPr>
        <p:txBody>
          <a:bodyPr/>
          <a:lstStyle/>
          <a:p>
            <a:fld id="{C6A366F5-ADD2-924A-9CC9-AAF3C608492C}" type="slidenum">
              <a:rPr lang="en-GB" smtClean="0"/>
              <a:t>‹#›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F892896-DF6C-E515-B0F1-1891294BF76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54368" y="6349428"/>
            <a:ext cx="4500562" cy="184544"/>
          </a:xfrm>
        </p:spPr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858F8E6-B21D-592B-DA38-F82B78345B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266" y="1383476"/>
            <a:ext cx="8594459" cy="1904208"/>
          </a:xfrm>
          <a:prstGeom prst="rect">
            <a:avLst/>
          </a:prstGeom>
        </p:spPr>
        <p:txBody>
          <a:bodyPr vert="horz" anchor="t"/>
          <a:lstStyle>
            <a:lvl1pPr>
              <a:defRPr sz="4000"/>
            </a:lvl1pPr>
          </a:lstStyle>
          <a:p>
            <a:r>
              <a:rPr lang="en-GB"/>
              <a:t>Subtitle to introduce a chapter or section</a:t>
            </a:r>
            <a:endParaRPr lang="en-GB">
              <a:solidFill>
                <a:schemeClr val="tx2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CE86B3-52C1-A353-F2E1-374F9B416F8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6344247"/>
            <a:ext cx="5903913" cy="18454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i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sz="1400" b="1" i="0">
                <a:latin typeface="Libre Baskerville" panose="02000000000000000000" pitchFamily="2" charset="0"/>
              </a:defRPr>
            </a:lvl2pPr>
            <a:lvl3pPr marL="914400" indent="0">
              <a:buNone/>
              <a:defRPr sz="1400" b="1" i="0">
                <a:latin typeface="Libre Baskerville" panose="02000000000000000000" pitchFamily="2" charset="0"/>
              </a:defRPr>
            </a:lvl3pPr>
            <a:lvl4pPr marL="1371600" indent="0">
              <a:buNone/>
              <a:defRPr sz="1400" b="1" i="0">
                <a:latin typeface="Libre Baskerville" panose="02000000000000000000" pitchFamily="2" charset="0"/>
              </a:defRPr>
            </a:lvl4pPr>
            <a:lvl5pPr marL="1828800" indent="0">
              <a:buNone/>
              <a:defRPr sz="1400"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PROJECT OR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0011203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654">
          <p15:clr>
            <a:srgbClr val="5ACBF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Content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770953CC-3C3E-29DB-69C3-C89B4FD00D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811427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70953CC-3C3E-29DB-69C3-C89B4FD00D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0F743-7583-E24A-91BB-F7A1FA002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75951" y="6349428"/>
            <a:ext cx="1054848" cy="183600"/>
          </a:xfrm>
        </p:spPr>
        <p:txBody>
          <a:bodyPr/>
          <a:lstStyle/>
          <a:p>
            <a:fld id="{C6A366F5-ADD2-924A-9CC9-AAF3C608492C}" type="slidenum">
              <a:rPr lang="en-GB" smtClean="0"/>
              <a:t>‹#›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F892896-DF6C-E515-B0F1-1891294BF76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54368" y="6349428"/>
            <a:ext cx="4500562" cy="184544"/>
          </a:xfrm>
        </p:spPr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858F8E6-B21D-592B-DA38-F82B78345B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1401071"/>
            <a:ext cx="5556613" cy="865187"/>
          </a:xfrm>
          <a:prstGeom prst="rect">
            <a:avLst/>
          </a:prstGeom>
        </p:spPr>
        <p:txBody>
          <a:bodyPr vert="horz" anchor="t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A long title or piece of introduction copy can go here.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A520831-454F-17EE-5725-D84A4E72621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275388" y="1426009"/>
            <a:ext cx="5545136" cy="4537075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</a:defRPr>
            </a:lvl1pPr>
            <a:lvl2pPr marL="685800" indent="-228600"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</a:defRPr>
            </a:lvl2pPr>
            <a:lvl3pPr marL="1143000" indent="-228600"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</a:defRPr>
            </a:lvl3pPr>
            <a:lvl4pPr marL="1600200" indent="-228600"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</a:defRPr>
            </a:lvl4pPr>
            <a:lvl5pPr marL="2057400" indent="-228600"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3EAF2AC1-0448-0D5C-D0A8-95B9E26796FA}"/>
              </a:ext>
            </a:extLst>
          </p:cNvPr>
          <p:cNvPicPr>
            <a:picLocks noChangeAspect="1"/>
          </p:cNvPicPr>
          <p:nvPr userDrawn="1"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905599" y="359987"/>
            <a:ext cx="925200" cy="738338"/>
          </a:xfrm>
          <a:prstGeom prst="rect">
            <a:avLst/>
          </a:prstGeom>
        </p:spPr>
      </p:pic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F2BC2182-16BD-252B-8F5B-8D47FF81F79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6344247"/>
            <a:ext cx="5903913" cy="18454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i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sz="1400" b="1" i="0">
                <a:latin typeface="Libre Baskerville" panose="02000000000000000000" pitchFamily="2" charset="0"/>
              </a:defRPr>
            </a:lvl2pPr>
            <a:lvl3pPr marL="914400" indent="0">
              <a:buNone/>
              <a:defRPr sz="1400" b="1" i="0">
                <a:latin typeface="Libre Baskerville" panose="02000000000000000000" pitchFamily="2" charset="0"/>
              </a:defRPr>
            </a:lvl3pPr>
            <a:lvl4pPr marL="1371600" indent="0">
              <a:buNone/>
              <a:defRPr sz="1400" b="1" i="0">
                <a:latin typeface="Libre Baskerville" panose="02000000000000000000" pitchFamily="2" charset="0"/>
              </a:defRPr>
            </a:lvl4pPr>
            <a:lvl5pPr marL="1828800" indent="0">
              <a:buNone/>
              <a:defRPr sz="1400"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PROJECT OR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78647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>
          <p15:clr>
            <a:srgbClr val="5ACBF0"/>
          </p15:clr>
        </p15:guide>
        <p15:guide id="2" pos="3953">
          <p15:clr>
            <a:srgbClr val="5ACBF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section_divi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1FA68420-1B91-375B-3983-CF7C0057F1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2904930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FA68420-1B91-375B-3983-CF7C0057F1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0F743-7583-E24A-91BB-F7A1FA002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75951" y="6349428"/>
            <a:ext cx="1054848" cy="183600"/>
          </a:xfrm>
        </p:spPr>
        <p:txBody>
          <a:bodyPr/>
          <a:lstStyle/>
          <a:p>
            <a:fld id="{C6A366F5-ADD2-924A-9CC9-AAF3C608492C}" type="slidenum">
              <a:rPr lang="en-GB" smtClean="0"/>
              <a:t>‹#›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F892896-DF6C-E515-B0F1-1891294BF76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54368" y="6349428"/>
            <a:ext cx="4500562" cy="184544"/>
          </a:xfrm>
        </p:spPr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858F8E6-B21D-592B-DA38-F82B78345B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1899" y="1375164"/>
            <a:ext cx="8583826" cy="865187"/>
          </a:xfrm>
          <a:prstGeom prst="rect">
            <a:avLst/>
          </a:prstGeom>
        </p:spPr>
        <p:txBody>
          <a:bodyPr vert="horz" anchor="t"/>
          <a:lstStyle>
            <a:lvl1pPr>
              <a:defRPr sz="4000">
                <a:solidFill>
                  <a:schemeClr val="bg2"/>
                </a:solidFill>
              </a:defRPr>
            </a:lvl1pPr>
          </a:lstStyle>
          <a:p>
            <a:r>
              <a:rPr lang="en-GB"/>
              <a:t>Subtitle to introduce a chapter or section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A8339963-C9DF-D1BD-AD69-7C18A8D186C5}"/>
              </a:ext>
            </a:extLst>
          </p:cNvPr>
          <p:cNvPicPr>
            <a:picLocks noChangeAspect="1"/>
          </p:cNvPicPr>
          <p:nvPr userDrawn="1"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905599" y="359987"/>
            <a:ext cx="925200" cy="738338"/>
          </a:xfrm>
          <a:prstGeom prst="rect">
            <a:avLst/>
          </a:prstGeom>
        </p:spPr>
      </p:pic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32CAEB0D-AA26-3423-D58D-6C9F903433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6344247"/>
            <a:ext cx="5903913" cy="18454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i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sz="1400" b="1" i="0">
                <a:latin typeface="Libre Baskerville" panose="02000000000000000000" pitchFamily="2" charset="0"/>
              </a:defRPr>
            </a:lvl2pPr>
            <a:lvl3pPr marL="914400" indent="0">
              <a:buNone/>
              <a:defRPr sz="1400" b="1" i="0">
                <a:latin typeface="Libre Baskerville" panose="02000000000000000000" pitchFamily="2" charset="0"/>
              </a:defRPr>
            </a:lvl3pPr>
            <a:lvl4pPr marL="1371600" indent="0">
              <a:buNone/>
              <a:defRPr sz="1400" b="1" i="0">
                <a:latin typeface="Libre Baskerville" panose="02000000000000000000" pitchFamily="2" charset="0"/>
              </a:defRPr>
            </a:lvl4pPr>
            <a:lvl5pPr marL="1828800" indent="0">
              <a:buNone/>
              <a:defRPr sz="1400"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PROJECT OR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7270984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654">
          <p15:clr>
            <a:srgbClr val="5ACBF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Content Al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E9F1F633-942E-AF29-83E9-5A8DE67B08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177463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9F1F633-942E-AF29-83E9-5A8DE67B08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0F743-7583-E24A-91BB-F7A1FA002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75951" y="6349428"/>
            <a:ext cx="1054848" cy="183600"/>
          </a:xfrm>
        </p:spPr>
        <p:txBody>
          <a:bodyPr/>
          <a:lstStyle/>
          <a:p>
            <a:fld id="{C6A366F5-ADD2-924A-9CC9-AAF3C608492C}" type="slidenum">
              <a:rPr lang="en-GB" smtClean="0"/>
              <a:t>‹#›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F892896-DF6C-E515-B0F1-1891294BF76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54368" y="6349428"/>
            <a:ext cx="4500562" cy="184544"/>
          </a:xfrm>
        </p:spPr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858F8E6-B21D-592B-DA38-F82B78345B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1392758"/>
            <a:ext cx="5556613" cy="865187"/>
          </a:xfrm>
          <a:prstGeom prst="rect">
            <a:avLst/>
          </a:prstGeom>
        </p:spPr>
        <p:txBody>
          <a:bodyPr vert="horz" anchor="t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A long title or piece of introduction copy can go here.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A520831-454F-17EE-5725-D84A4E72621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275388" y="1417696"/>
            <a:ext cx="5545136" cy="4537075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</a:defRPr>
            </a:lvl1pPr>
            <a:lvl2pPr marL="685800" indent="-228600"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</a:defRPr>
            </a:lvl2pPr>
            <a:lvl3pPr marL="1143000" indent="-228600"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</a:defRPr>
            </a:lvl3pPr>
            <a:lvl4pPr marL="1600200" indent="-228600"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</a:defRPr>
            </a:lvl4pPr>
            <a:lvl5pPr marL="2057400" indent="-228600"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7B33833D-25EE-C47A-9719-E6F30A89066D}"/>
              </a:ext>
            </a:extLst>
          </p:cNvPr>
          <p:cNvPicPr>
            <a:picLocks noChangeAspect="1"/>
          </p:cNvPicPr>
          <p:nvPr userDrawn="1"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905599" y="359987"/>
            <a:ext cx="925200" cy="738338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FEB3EF0-13D5-0E2C-6585-0D7CD1B0FC2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6344247"/>
            <a:ext cx="5903913" cy="18454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i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sz="1400" b="1" i="0">
                <a:latin typeface="Libre Baskerville" panose="02000000000000000000" pitchFamily="2" charset="0"/>
              </a:defRPr>
            </a:lvl2pPr>
            <a:lvl3pPr marL="914400" indent="0">
              <a:buNone/>
              <a:defRPr sz="1400" b="1" i="0">
                <a:latin typeface="Libre Baskerville" panose="02000000000000000000" pitchFamily="2" charset="0"/>
              </a:defRPr>
            </a:lvl3pPr>
            <a:lvl4pPr marL="1371600" indent="0">
              <a:buNone/>
              <a:defRPr sz="1400" b="1" i="0">
                <a:latin typeface="Libre Baskerville" panose="02000000000000000000" pitchFamily="2" charset="0"/>
              </a:defRPr>
            </a:lvl4pPr>
            <a:lvl5pPr marL="1828800" indent="0">
              <a:buNone/>
              <a:defRPr sz="1400"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PROJECT OR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0342961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>
          <p15:clr>
            <a:srgbClr val="5ACBF0"/>
          </p15:clr>
        </p15:guide>
        <p15:guide id="2" pos="3953">
          <p15:clr>
            <a:srgbClr val="5ACBF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Al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12EC1F9A-E625-47B6-A122-47910C8D54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51485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2EC1F9A-E625-47B6-A122-47910C8D54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0F743-7583-E24A-91BB-F7A1FA002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75951" y="6349428"/>
            <a:ext cx="1054848" cy="183600"/>
          </a:xfrm>
        </p:spPr>
        <p:txBody>
          <a:bodyPr/>
          <a:lstStyle/>
          <a:p>
            <a:fld id="{C6A366F5-ADD2-924A-9CC9-AAF3C608492C}" type="slidenum">
              <a:rPr lang="en-GB" smtClean="0"/>
              <a:t>‹#›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F892896-DF6C-E515-B0F1-1891294BF76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54368" y="6349428"/>
            <a:ext cx="4500562" cy="184544"/>
          </a:xfrm>
        </p:spPr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858F8E6-B21D-592B-DA38-F82B78345B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266" y="1375164"/>
            <a:ext cx="8576995" cy="1904208"/>
          </a:xfrm>
          <a:prstGeom prst="rect">
            <a:avLst/>
          </a:prstGeom>
        </p:spPr>
        <p:txBody>
          <a:bodyPr vert="horz" anchor="t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>
                <a:solidFill>
                  <a:schemeClr val="bg2"/>
                </a:solidFill>
              </a:defRPr>
            </a:lvl1pPr>
          </a:lstStyle>
          <a:p>
            <a:r>
              <a:rPr lang="en-GB"/>
              <a:t>Subtitle to introduce a chapter or section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F0DFAFD0-87D8-E2C6-F134-CAACAB9C694B}"/>
              </a:ext>
            </a:extLst>
          </p:cNvPr>
          <p:cNvPicPr>
            <a:picLocks noChangeAspect="1"/>
          </p:cNvPicPr>
          <p:nvPr userDrawn="1"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905599" y="359987"/>
            <a:ext cx="925200" cy="738338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409607F-DFED-4562-9D62-BC122A033D4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6344247"/>
            <a:ext cx="5903913" cy="18454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i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sz="1400" b="1" i="0">
                <a:latin typeface="Libre Baskerville" panose="02000000000000000000" pitchFamily="2" charset="0"/>
              </a:defRPr>
            </a:lvl2pPr>
            <a:lvl3pPr marL="914400" indent="0">
              <a:buNone/>
              <a:defRPr sz="1400" b="1" i="0">
                <a:latin typeface="Libre Baskerville" panose="02000000000000000000" pitchFamily="2" charset="0"/>
              </a:defRPr>
            </a:lvl3pPr>
            <a:lvl4pPr marL="1371600" indent="0">
              <a:buNone/>
              <a:defRPr sz="1400" b="1" i="0">
                <a:latin typeface="Libre Baskerville" panose="02000000000000000000" pitchFamily="2" charset="0"/>
              </a:defRPr>
            </a:lvl4pPr>
            <a:lvl5pPr marL="1828800" indent="0">
              <a:buNone/>
              <a:defRPr sz="1400"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PROJECT OR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2263438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654">
          <p15:clr>
            <a:srgbClr val="5ACBF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Featur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A1BCD642-802D-5DFD-B684-FC6B15358E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969016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1BCD642-802D-5DFD-B684-FC6B15358E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0F743-7583-E24A-91BB-F7A1FA002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75951" y="6349428"/>
            <a:ext cx="1054848" cy="184544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6A366F5-ADD2-924A-9CC9-AAF3C608492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F892896-DF6C-E515-B0F1-1891294BF76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54368" y="6349428"/>
            <a:ext cx="4500562" cy="184544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Copyright BFY Group, 2026 – All rights reserved. Confidential and proprietary</a:t>
            </a:r>
          </a:p>
        </p:txBody>
      </p:sp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82D4F254-8E89-3A04-60AA-4349B680C996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285661" y="2728444"/>
            <a:ext cx="5556613" cy="1836737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 typeface="Wingdings" panose="05000000000000000000" pitchFamily="2" charset="2"/>
              <a:buChar char="§"/>
              <a:defRPr sz="1200"/>
            </a:lvl1pPr>
            <a:lvl2pPr marL="628650" indent="-171450">
              <a:buFont typeface="Wingdings" panose="05000000000000000000" pitchFamily="2" charset="2"/>
              <a:buChar char="§"/>
              <a:defRPr sz="1200"/>
            </a:lvl2pPr>
            <a:lvl3pPr marL="1085850" indent="-171450">
              <a:buFont typeface="Wingdings" panose="05000000000000000000" pitchFamily="2" charset="2"/>
              <a:buChar char="§"/>
              <a:defRPr sz="1200"/>
            </a:lvl3pPr>
            <a:lvl4pPr marL="1543050" indent="-171450">
              <a:buFont typeface="Wingdings" panose="05000000000000000000" pitchFamily="2" charset="2"/>
              <a:buChar char="§"/>
              <a:defRPr sz="1200"/>
            </a:lvl4pPr>
            <a:lvl5pPr marL="2000250" indent="-171450">
              <a:buFont typeface="Wingdings" panose="05000000000000000000" pitchFamily="2" charset="2"/>
              <a:buChar char="§"/>
              <a:defRPr sz="12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B5FE058-9ACB-7E7D-70AE-8D6CF789BB54}"/>
              </a:ext>
            </a:extLst>
          </p:cNvPr>
          <p:cNvCxnSpPr>
            <a:cxnSpLocks/>
          </p:cNvCxnSpPr>
          <p:nvPr/>
        </p:nvCxnSpPr>
        <p:spPr>
          <a:xfrm>
            <a:off x="447675" y="1952625"/>
            <a:ext cx="0" cy="684213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F82FF03-9F6C-7756-0BB6-F5FC924EC60C}"/>
              </a:ext>
            </a:extLst>
          </p:cNvPr>
          <p:cNvCxnSpPr>
            <a:cxnSpLocks/>
          </p:cNvCxnSpPr>
          <p:nvPr/>
        </p:nvCxnSpPr>
        <p:spPr>
          <a:xfrm>
            <a:off x="6352336" y="1952507"/>
            <a:ext cx="0" cy="684331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1B0C831E-C984-080E-1EF9-6A8F76A7B9D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75387" y="1407392"/>
            <a:ext cx="5545138" cy="479426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/>
              <a:t>Column 1 Headin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92900EF-E754-76F7-7158-57388E54AE66}"/>
              </a:ext>
            </a:extLst>
          </p:cNvPr>
          <p:cNvSpPr txBox="1"/>
          <p:nvPr userDrawn="1"/>
        </p:nvSpPr>
        <p:spPr>
          <a:xfrm>
            <a:off x="370510" y="2722440"/>
            <a:ext cx="5535830" cy="240065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buNone/>
            </a:pPr>
            <a:r>
              <a:rPr lang="en-GB" sz="1200" dirty="0">
                <a:latin typeface="Verdana"/>
                <a:ea typeface="Verdana"/>
              </a:rPr>
              <a:t>BFY Group Ltd</a:t>
            </a:r>
            <a:endParaRPr lang="en-US" sz="1200" dirty="0">
              <a:latin typeface="Verdana"/>
              <a:ea typeface="Verdana"/>
            </a:endParaRPr>
          </a:p>
          <a:p>
            <a:pPr marL="0" indent="0">
              <a:buNone/>
            </a:pPr>
            <a:r>
              <a:rPr lang="en-GB" sz="1200" dirty="0">
                <a:latin typeface="Verdana"/>
                <a:ea typeface="Verdana"/>
              </a:rPr>
              <a:t>Company Number: 05068284</a:t>
            </a:r>
          </a:p>
          <a:p>
            <a:pPr marL="0" indent="0">
              <a:buNone/>
            </a:pPr>
            <a:r>
              <a:rPr lang="en-GB" sz="1200" dirty="0">
                <a:latin typeface="Verdana"/>
                <a:ea typeface="Verdana"/>
              </a:rPr>
              <a:t>Address: BFY Headquarters, 51 Stoney St, Nottingham, NG1 1LX</a:t>
            </a:r>
          </a:p>
          <a:p>
            <a:pPr marL="0" indent="0">
              <a:buNone/>
            </a:pPr>
            <a:endParaRPr lang="en-GB" sz="1200" dirty="0"/>
          </a:p>
          <a:p>
            <a:pPr marL="0" indent="0">
              <a:buNone/>
            </a:pPr>
            <a:endParaRPr lang="en-GB" sz="1200" dirty="0">
              <a:latin typeface="Verdana"/>
              <a:ea typeface="Verdana"/>
            </a:endParaRPr>
          </a:p>
          <a:p>
            <a:pPr marL="0" indent="0">
              <a:buNone/>
            </a:pPr>
            <a:r>
              <a:rPr lang="en-GB" sz="1200" dirty="0">
                <a:latin typeface="Verdana"/>
                <a:ea typeface="Verdana"/>
              </a:rPr>
              <a:t>Signature: 	_____________________________________</a:t>
            </a:r>
          </a:p>
          <a:p>
            <a:pPr marL="0" indent="0">
              <a:buNone/>
            </a:pPr>
            <a:endParaRPr lang="en-GB" sz="1200" dirty="0"/>
          </a:p>
          <a:p>
            <a:pPr marL="0" indent="0">
              <a:buNone/>
            </a:pPr>
            <a:endParaRPr lang="en-GB" sz="1200" dirty="0">
              <a:latin typeface="Verdana"/>
              <a:ea typeface="Verdana"/>
            </a:endParaRPr>
          </a:p>
          <a:p>
            <a:pPr marL="0" indent="0">
              <a:buNone/>
            </a:pPr>
            <a:r>
              <a:rPr lang="en-GB" sz="1200" dirty="0">
                <a:latin typeface="Verdana"/>
                <a:ea typeface="Verdana"/>
              </a:rPr>
              <a:t>Name:	_____________________________________</a:t>
            </a:r>
          </a:p>
          <a:p>
            <a:pPr marL="0" indent="0">
              <a:buNone/>
            </a:pPr>
            <a:endParaRPr lang="en-GB" sz="1200" dirty="0"/>
          </a:p>
          <a:p>
            <a:pPr marL="0" indent="0">
              <a:buNone/>
            </a:pPr>
            <a:endParaRPr lang="en-GB" sz="1200" dirty="0">
              <a:latin typeface="Verdana"/>
              <a:ea typeface="Verdana"/>
            </a:endParaRPr>
          </a:p>
          <a:p>
            <a:pPr marL="0" indent="0">
              <a:buNone/>
            </a:pPr>
            <a:r>
              <a:rPr lang="en-GB" sz="1200" dirty="0">
                <a:latin typeface="Verdana"/>
                <a:ea typeface="Verdana"/>
              </a:rPr>
              <a:t>Date:	_____________________________________</a:t>
            </a:r>
          </a:p>
          <a:p>
            <a:endParaRPr lang="en-GB" sz="1200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5B5D1C4-1680-5135-0320-F2C73960EDD4}"/>
              </a:ext>
            </a:extLst>
          </p:cNvPr>
          <p:cNvSpPr txBox="1"/>
          <p:nvPr userDrawn="1"/>
        </p:nvSpPr>
        <p:spPr>
          <a:xfrm>
            <a:off x="370509" y="1407612"/>
            <a:ext cx="553582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 b="1" i="0">
                <a:solidFill>
                  <a:schemeClr val="accent1"/>
                </a:solidFill>
                <a:latin typeface="+mn-lt"/>
              </a:rPr>
              <a:t>BFY Group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0C3433D-E5AD-6692-4E7A-FA976C125135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370510" y="305723"/>
            <a:ext cx="9972675" cy="73833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800"/>
            </a:lvl1pPr>
          </a:lstStyle>
          <a:p>
            <a:endParaRPr lang="en-GB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FA2E098-FCCF-90E8-00A0-9A91DDBDBBF6}"/>
              </a:ext>
            </a:extLst>
          </p:cNvPr>
          <p:cNvSpPr/>
          <p:nvPr userDrawn="1"/>
        </p:nvSpPr>
        <p:spPr>
          <a:xfrm>
            <a:off x="370510" y="-8893"/>
            <a:ext cx="1103040" cy="12971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BD7FF313-2B62-8E9D-A495-7412B200C811}"/>
              </a:ext>
            </a:extLst>
          </p:cNvPr>
          <p:cNvPicPr>
            <a:picLocks noChangeAspect="1"/>
          </p:cNvPicPr>
          <p:nvPr userDrawn="1"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905599" y="359987"/>
            <a:ext cx="925200" cy="738338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99A49F0-BD75-FE52-3EFF-35BAA9BF2D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6344247"/>
            <a:ext cx="5903913" cy="18454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i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sz="1400" b="1" i="0">
                <a:latin typeface="Libre Baskerville" panose="02000000000000000000" pitchFamily="2" charset="0"/>
              </a:defRPr>
            </a:lvl2pPr>
            <a:lvl3pPr marL="914400" indent="0">
              <a:buNone/>
              <a:defRPr sz="1400" b="1" i="0">
                <a:latin typeface="Libre Baskerville" panose="02000000000000000000" pitchFamily="2" charset="0"/>
              </a:defRPr>
            </a:lvl3pPr>
            <a:lvl4pPr marL="1371600" indent="0">
              <a:buNone/>
              <a:defRPr sz="1400" b="1" i="0">
                <a:latin typeface="Libre Baskerville" panose="02000000000000000000" pitchFamily="2" charset="0"/>
              </a:defRPr>
            </a:lvl4pPr>
            <a:lvl5pPr marL="1828800" indent="0">
              <a:buNone/>
              <a:defRPr sz="1400"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PROJECT OR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3524371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162" userDrawn="1">
          <p15:clr>
            <a:srgbClr val="5ACBF0"/>
          </p15:clr>
        </p15:guide>
        <p15:guide id="3" orient="horz" pos="1230" userDrawn="1">
          <p15:clr>
            <a:srgbClr val="5ACBF0"/>
          </p15:clr>
        </p15:guide>
        <p15:guide id="4" pos="3727">
          <p15:clr>
            <a:srgbClr val="5ACBF0"/>
          </p15:clr>
        </p15:guide>
        <p15:guide id="5" pos="3953">
          <p15:clr>
            <a:srgbClr val="5ACBF0"/>
          </p15:clr>
        </p15:guide>
        <p15:guide id="6" orient="horz" pos="1661" userDrawn="1">
          <p15:clr>
            <a:srgbClr val="5ACBF0"/>
          </p15:clr>
        </p15:guide>
        <p15:guide id="7" orient="horz" pos="1729" userDrawn="1">
          <p15:clr>
            <a:srgbClr val="5ACBF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7858F8E6-B21D-592B-DA38-F82B78345B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75388" y="1592264"/>
            <a:ext cx="5545137" cy="360362"/>
          </a:xfrm>
        </p:spPr>
        <p:txBody>
          <a:bodyPr/>
          <a:lstStyle/>
          <a:p>
            <a:r>
              <a:rPr lang="en-GB"/>
              <a:t>Thank You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59916C71-1C73-DF83-BCB9-BA80032935E9}"/>
              </a:ext>
            </a:extLst>
          </p:cNvPr>
          <p:cNvCxnSpPr>
            <a:cxnSpLocks/>
          </p:cNvCxnSpPr>
          <p:nvPr/>
        </p:nvCxnSpPr>
        <p:spPr>
          <a:xfrm>
            <a:off x="6426838" y="2097088"/>
            <a:ext cx="0" cy="719137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3C6B5BC-3303-5244-78EF-DFC8F728611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275388" y="2960688"/>
            <a:ext cx="5545137" cy="1672257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 typeface="Wingdings" panose="05000000000000000000" pitchFamily="2" charset="2"/>
              <a:buChar char="§"/>
              <a:defRPr sz="1200"/>
            </a:lvl1pPr>
            <a:lvl2pPr marL="628650" indent="-171450">
              <a:buFont typeface="Wingdings" panose="05000000000000000000" pitchFamily="2" charset="2"/>
              <a:buChar char="§"/>
              <a:defRPr sz="1200"/>
            </a:lvl2pPr>
            <a:lvl3pPr marL="1085850" indent="-171450">
              <a:buFont typeface="Wingdings" panose="05000000000000000000" pitchFamily="2" charset="2"/>
              <a:buChar char="§"/>
              <a:defRPr sz="1200"/>
            </a:lvl3pPr>
            <a:lvl4pPr marL="1543050" indent="-171450">
              <a:buFont typeface="Wingdings" panose="05000000000000000000" pitchFamily="2" charset="2"/>
              <a:buChar char="§"/>
              <a:defRPr sz="1200"/>
            </a:lvl4pPr>
            <a:lvl5pPr marL="2000250" indent="-171450">
              <a:buFont typeface="Wingdings" panose="05000000000000000000" pitchFamily="2" charset="2"/>
              <a:buChar char="§"/>
              <a:defRPr sz="12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E752F0E7-5CAF-C96A-A264-7FABD0EB293C}"/>
              </a:ext>
            </a:extLst>
          </p:cNvPr>
          <p:cNvPicPr>
            <a:picLocks noChangeAspect="1"/>
          </p:cNvPicPr>
          <p:nvPr userDrawn="1"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0905599" y="359987"/>
            <a:ext cx="925200" cy="738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3475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30">
          <p15:clr>
            <a:srgbClr val="5ACBF0"/>
          </p15:clr>
        </p15:guide>
        <p15:guide id="2" orient="horz" pos="1321">
          <p15:clr>
            <a:srgbClr val="5ACBF0"/>
          </p15:clr>
        </p15:guide>
        <p15:guide id="3" orient="horz" pos="1774">
          <p15:clr>
            <a:srgbClr val="5ACBF0"/>
          </p15:clr>
        </p15:guide>
        <p15:guide id="4" orient="horz" pos="1865">
          <p15:clr>
            <a:srgbClr val="5ACBF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7858F8E6-B21D-592B-DA38-F82B78345B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75388" y="1592264"/>
            <a:ext cx="5545137" cy="360362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Thank You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59916C71-1C73-DF83-BCB9-BA80032935E9}"/>
              </a:ext>
            </a:extLst>
          </p:cNvPr>
          <p:cNvCxnSpPr>
            <a:cxnSpLocks/>
          </p:cNvCxnSpPr>
          <p:nvPr/>
        </p:nvCxnSpPr>
        <p:spPr>
          <a:xfrm>
            <a:off x="6426838" y="2097088"/>
            <a:ext cx="0" cy="719137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3C6B5BC-3303-5244-78EF-DFC8F728611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275388" y="2960688"/>
            <a:ext cx="5545137" cy="1672257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</a:defRPr>
            </a:lvl1pPr>
            <a:lvl2pPr marL="628650" indent="-171450"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</a:defRPr>
            </a:lvl2pPr>
            <a:lvl3pPr marL="1085850" indent="-171450"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</a:defRPr>
            </a:lvl3pPr>
            <a:lvl4pPr marL="1543050" indent="-171450"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</a:defRPr>
            </a:lvl4pPr>
            <a:lvl5pPr marL="2000250" indent="-171450"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F8C3188E-04B8-AFD4-A77C-E3854B2AF24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2068" y="5751362"/>
            <a:ext cx="924013" cy="738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34650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30">
          <p15:clr>
            <a:srgbClr val="5ACBF0"/>
          </p15:clr>
        </p15:guide>
        <p15:guide id="2" orient="horz" pos="1321">
          <p15:clr>
            <a:srgbClr val="5ACBF0"/>
          </p15:clr>
        </p15:guide>
        <p15:guide id="3" orient="horz" pos="1774">
          <p15:clr>
            <a:srgbClr val="5ACBF0"/>
          </p15:clr>
        </p15:guide>
        <p15:guide id="4" orient="horz" pos="1865">
          <p15:clr>
            <a:srgbClr val="5ACBF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g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0A3B1E9E-9EC2-6504-F213-D7EBAB7AD1EF}"/>
              </a:ext>
            </a:extLst>
          </p:cNvPr>
          <p:cNvPicPr>
            <a:picLocks noChangeAspect="1"/>
          </p:cNvPicPr>
          <p:nvPr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5179243" y="2697402"/>
            <a:ext cx="1833514" cy="1463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86486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mbr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CD09C6F4-ABEE-64A4-F463-7836C3270F6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4473642" y="1918253"/>
            <a:ext cx="7718358" cy="4939748"/>
          </a:xfrm>
          <a:prstGeom prst="rect">
            <a:avLst/>
          </a:prstGeom>
        </p:spPr>
      </p:pic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DD4F21CB-C707-B194-3AB8-BE3EAA3033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590322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D4F21CB-C707-B194-3AB8-BE3EAA3033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98488929-BBEB-5CCD-B5F7-78301D3E07B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0000" y="6019800"/>
            <a:ext cx="8338275" cy="5080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 algn="l">
              <a:lnSpc>
                <a:spcPct val="100000"/>
              </a:lnSpc>
              <a:buFontTx/>
              <a:buNone/>
              <a:defRPr b="1">
                <a:latin typeface="+mj-lt"/>
              </a:defRPr>
            </a:lvl2pPr>
            <a:lvl3pPr marL="914400" indent="0" algn="l">
              <a:lnSpc>
                <a:spcPct val="100000"/>
              </a:lnSpc>
              <a:buFontTx/>
              <a:buNone/>
              <a:defRPr b="1">
                <a:latin typeface="+mj-lt"/>
              </a:defRPr>
            </a:lvl3pPr>
            <a:lvl4pPr marL="1371600" indent="0" algn="l">
              <a:lnSpc>
                <a:spcPct val="100000"/>
              </a:lnSpc>
              <a:buFontTx/>
              <a:buNone/>
              <a:defRPr b="1">
                <a:latin typeface="+mj-lt"/>
              </a:defRPr>
            </a:lvl4pPr>
            <a:lvl5pPr marL="1828800" indent="0" algn="l">
              <a:lnSpc>
                <a:spcPct val="100000"/>
              </a:lnSpc>
              <a:buFontTx/>
              <a:buNone/>
              <a:defRPr b="1">
                <a:latin typeface="+mj-lt"/>
              </a:defRPr>
            </a:lvl5pPr>
          </a:lstStyle>
          <a:p>
            <a:pPr lvl="0"/>
            <a:r>
              <a:rPr lang="en-GB" dirty="0"/>
              <a:t>PREPARED FOR: CLIENT NAM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311AE40-2AEB-9CEC-D205-89EFDB047A7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1475" y="4852641"/>
            <a:ext cx="8326800" cy="72135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FontTx/>
              <a:buNone/>
              <a:defRPr lang="en-GB" sz="2400" b="1" dirty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>
              <a:lnSpc>
                <a:spcPct val="100000"/>
              </a:lnSpc>
              <a:spcBef>
                <a:spcPct val="0"/>
              </a:spcBef>
              <a:buNone/>
            </a:pPr>
            <a:r>
              <a:rPr lang="en-GB"/>
              <a:t>Project Title</a:t>
            </a:r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E57F75E7-34DD-C63F-74F6-E86AF1FDBB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527063"/>
            <a:ext cx="8338275" cy="1164000"/>
          </a:xfrm>
        </p:spPr>
        <p:txBody>
          <a:bodyPr vert="horz"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576410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Log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0A3B1E9E-9EC2-6504-F213-D7EBAB7AD1EF}"/>
              </a:ext>
            </a:extLst>
          </p:cNvPr>
          <p:cNvPicPr>
            <a:picLocks noChangeAspect="1"/>
          </p:cNvPicPr>
          <p:nvPr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5179243" y="2697402"/>
            <a:ext cx="1833514" cy="1463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57825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1BD15C6-B0A6-8333-6DBB-CA92B9F807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800321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1BD15C6-B0A6-8333-6DBB-CA92B9F807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0F743-7583-E24A-91BB-F7A1FA002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75951" y="6349428"/>
            <a:ext cx="1054848" cy="183600"/>
          </a:xfrm>
        </p:spPr>
        <p:txBody>
          <a:bodyPr/>
          <a:lstStyle/>
          <a:p>
            <a:fld id="{C6A366F5-ADD2-924A-9CC9-AAF3C608492C}" type="slidenum">
              <a:rPr lang="en-GB" smtClean="0"/>
              <a:t>‹#›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F892896-DF6C-E515-B0F1-1891294BF76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54368" y="6349428"/>
            <a:ext cx="4500562" cy="184544"/>
          </a:xfrm>
        </p:spPr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EBEF153-7643-D7D3-C31F-0A374B4C3A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6344247"/>
            <a:ext cx="5903913" cy="18454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i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sz="1400" b="1" i="0">
                <a:latin typeface="Libre Baskerville" panose="02000000000000000000" pitchFamily="2" charset="0"/>
              </a:defRPr>
            </a:lvl2pPr>
            <a:lvl3pPr marL="914400" indent="0">
              <a:buNone/>
              <a:defRPr sz="1400" b="1" i="0">
                <a:latin typeface="Libre Baskerville" panose="02000000000000000000" pitchFamily="2" charset="0"/>
              </a:defRPr>
            </a:lvl3pPr>
            <a:lvl4pPr marL="1371600" indent="0">
              <a:buNone/>
              <a:defRPr sz="1400" b="1" i="0">
                <a:latin typeface="Libre Baskerville" panose="02000000000000000000" pitchFamily="2" charset="0"/>
              </a:defRPr>
            </a:lvl4pPr>
            <a:lvl5pPr marL="1828800" indent="0">
              <a:buNone/>
              <a:defRPr sz="1400"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PROJECT OR SECTION TITLE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B79CBBC9-D362-564B-3FF3-EE578CB9B0E8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370510" y="330661"/>
            <a:ext cx="10153403" cy="7676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226220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c_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67745054-492B-C6CF-C80C-31648E6AE4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885241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7745054-492B-C6CF-C80C-31648E6AE4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0F743-7583-E24A-91BB-F7A1FA002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75951" y="6349428"/>
            <a:ext cx="1054848" cy="183600"/>
          </a:xfrm>
        </p:spPr>
        <p:txBody>
          <a:bodyPr/>
          <a:lstStyle/>
          <a:p>
            <a:fld id="{C6A366F5-ADD2-924A-9CC9-AAF3C608492C}" type="slidenum">
              <a:rPr lang="en-GB" smtClean="0"/>
              <a:t>‹#›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F892896-DF6C-E515-B0F1-1891294BF76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54368" y="6349428"/>
            <a:ext cx="4500562" cy="184544"/>
          </a:xfrm>
        </p:spPr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1135705-09E6-131B-9C0F-3E65A1BA870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60002" y="2087916"/>
            <a:ext cx="2603862" cy="767664"/>
          </a:xfrm>
          <a:prstGeom prst="rect">
            <a:avLst/>
          </a:prstGeom>
        </p:spPr>
        <p:txBody>
          <a:bodyPr lIns="0" tIns="0" rIns="0" bIns="0"/>
          <a:lstStyle>
            <a:lvl1pPr marL="9525" indent="-9525">
              <a:buFont typeface="Wingdings" pitchFamily="2" charset="2"/>
              <a:buNone/>
              <a:tabLst/>
              <a:defRPr sz="1100" b="1">
                <a:solidFill>
                  <a:schemeClr val="tx2"/>
                </a:solidFill>
              </a:defRPr>
            </a:lvl1pPr>
            <a:lvl2pPr marL="9525" indent="-9525">
              <a:buFont typeface="Wingdings" pitchFamily="2" charset="2"/>
              <a:buNone/>
              <a:tabLst/>
              <a:defRPr sz="1200" b="1"/>
            </a:lvl2pPr>
            <a:lvl3pPr marL="9525" indent="-9525">
              <a:buFont typeface="Wingdings" pitchFamily="2" charset="2"/>
              <a:buNone/>
              <a:tabLst/>
              <a:defRPr sz="1200" b="1"/>
            </a:lvl3pPr>
            <a:lvl4pPr marL="9525" indent="-9525">
              <a:buFont typeface="Wingdings" pitchFamily="2" charset="2"/>
              <a:buNone/>
              <a:tabLst/>
              <a:defRPr sz="1200" b="1"/>
            </a:lvl4pPr>
            <a:lvl5pPr marL="9525" indent="-9525">
              <a:buFont typeface="Wingdings" pitchFamily="2" charset="2"/>
              <a:buNone/>
              <a:tabLst/>
              <a:defRPr sz="1200" b="1"/>
            </a:lvl5pPr>
          </a:lstStyle>
          <a:p>
            <a:pPr lvl="0"/>
            <a:r>
              <a:rPr lang="en-GB" dirty="0"/>
              <a:t>Point 1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4C551A70-39BD-D693-A254-FC6B2382A40F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323429" y="2087916"/>
            <a:ext cx="8491423" cy="767664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spcBef>
                <a:spcPts val="400"/>
              </a:spcBef>
              <a:buFont typeface="Wingdings" pitchFamily="2" charset="2"/>
              <a:buChar char="§"/>
              <a:defRPr sz="1100"/>
            </a:lvl1pPr>
            <a:lvl2pPr marL="685800" indent="-228600">
              <a:spcBef>
                <a:spcPts val="400"/>
              </a:spcBef>
              <a:buFont typeface="Wingdings" pitchFamily="2" charset="2"/>
              <a:buChar char="§"/>
              <a:defRPr sz="1200"/>
            </a:lvl2pPr>
            <a:lvl3pPr marL="1143000" indent="-228600">
              <a:spcBef>
                <a:spcPts val="400"/>
              </a:spcBef>
              <a:buFont typeface="Wingdings" pitchFamily="2" charset="2"/>
              <a:buChar char="§"/>
              <a:defRPr sz="1200"/>
            </a:lvl3pPr>
            <a:lvl4pPr marL="1600200" indent="-228600">
              <a:spcBef>
                <a:spcPts val="400"/>
              </a:spcBef>
              <a:buFont typeface="Wingdings" pitchFamily="2" charset="2"/>
              <a:buChar char="§"/>
              <a:defRPr sz="1200"/>
            </a:lvl4pPr>
            <a:lvl5pPr marL="2057400" indent="-228600">
              <a:spcBef>
                <a:spcPts val="400"/>
              </a:spcBef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 dirty="0"/>
              <a:t>Bullet 1</a:t>
            </a:r>
          </a:p>
          <a:p>
            <a:pPr lvl="0"/>
            <a:r>
              <a:rPr lang="en-GB" dirty="0"/>
              <a:t>Bullet 2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BBAD0DC-4AD6-B436-0141-F852A0FA1786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370510" y="330661"/>
            <a:ext cx="10153403" cy="7676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EB5F32B-6D29-1434-D80C-46B0EF7980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6344247"/>
            <a:ext cx="5903913" cy="18454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i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sz="1400" b="1" i="0">
                <a:latin typeface="Libre Baskerville" panose="02000000000000000000" pitchFamily="2" charset="0"/>
              </a:defRPr>
            </a:lvl2pPr>
            <a:lvl3pPr marL="914400" indent="0">
              <a:buNone/>
              <a:defRPr sz="1400" b="1" i="0">
                <a:latin typeface="Libre Baskerville" panose="02000000000000000000" pitchFamily="2" charset="0"/>
              </a:defRPr>
            </a:lvl3pPr>
            <a:lvl4pPr marL="1371600" indent="0">
              <a:buNone/>
              <a:defRPr sz="1400" b="1" i="0">
                <a:latin typeface="Libre Baskerville" panose="02000000000000000000" pitchFamily="2" charset="0"/>
              </a:defRPr>
            </a:lvl4pPr>
            <a:lvl5pPr marL="1828800" indent="0">
              <a:buNone/>
              <a:defRPr sz="1400"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PROJECT OR SECTION TITLE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1BEEB274-B5B7-FF8B-1B85-4EC5703189D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1475" y="1405215"/>
            <a:ext cx="11470799" cy="43946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1" i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CC0D3178-2E83-25F2-E108-6F0E2FAEC85D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59999" y="3095193"/>
            <a:ext cx="2603862" cy="767664"/>
          </a:xfrm>
          <a:prstGeom prst="rect">
            <a:avLst/>
          </a:prstGeom>
        </p:spPr>
        <p:txBody>
          <a:bodyPr lIns="0" tIns="0" rIns="0" bIns="0"/>
          <a:lstStyle>
            <a:lvl1pPr marL="9525" indent="0">
              <a:buFont typeface="Wingdings" pitchFamily="2" charset="2"/>
              <a:buNone/>
              <a:tabLst/>
              <a:defRPr lang="en-GB" sz="1100" b="1">
                <a:solidFill>
                  <a:schemeClr val="tx2"/>
                </a:solidFill>
              </a:defRPr>
            </a:lvl1pPr>
            <a:lvl2pPr marL="9525" indent="0">
              <a:buFont typeface="Wingdings" pitchFamily="2" charset="2"/>
              <a:buNone/>
              <a:tabLst/>
              <a:defRPr lang="en-GB" sz="1200" b="1"/>
            </a:lvl2pPr>
            <a:lvl3pPr marL="9525" indent="0">
              <a:buFont typeface="Wingdings" pitchFamily="2" charset="2"/>
              <a:buNone/>
              <a:tabLst/>
              <a:defRPr lang="en-GB" sz="1200" b="1"/>
            </a:lvl3pPr>
            <a:lvl4pPr marL="9525" indent="0">
              <a:buFont typeface="Wingdings" pitchFamily="2" charset="2"/>
              <a:buNone/>
              <a:tabLst/>
              <a:defRPr lang="en-GB" sz="1200" b="1"/>
            </a:lvl4pPr>
            <a:lvl5pPr marL="9525" indent="0">
              <a:buFont typeface="Wingdings" pitchFamily="2" charset="2"/>
              <a:buNone/>
              <a:tabLst/>
              <a:defRPr lang="en-GB" sz="1200" b="1"/>
            </a:lvl5pPr>
          </a:lstStyle>
          <a:p>
            <a:pPr marL="9525" lvl="0" indent="0">
              <a:buFont typeface="Wingdings" pitchFamily="2" charset="2"/>
              <a:buNone/>
              <a:tabLst/>
            </a:pPr>
            <a:r>
              <a:rPr lang="en-GB" dirty="0"/>
              <a:t>Point 2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76A6100-C158-2D88-1AF7-E7BEB05999D9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60000" y="4088006"/>
            <a:ext cx="2603862" cy="767664"/>
          </a:xfrm>
          <a:prstGeom prst="rect">
            <a:avLst/>
          </a:prstGeom>
        </p:spPr>
        <p:txBody>
          <a:bodyPr lIns="0" tIns="0" rIns="0" bIns="0"/>
          <a:lstStyle>
            <a:lvl1pPr marL="9525" indent="-9525">
              <a:buFont typeface="Wingdings" pitchFamily="2" charset="2"/>
              <a:buNone/>
              <a:tabLst/>
              <a:defRPr lang="en-GB" sz="1100" b="1">
                <a:solidFill>
                  <a:schemeClr val="tx2"/>
                </a:solidFill>
              </a:defRPr>
            </a:lvl1pPr>
            <a:lvl2pPr marL="9525" indent="-9525">
              <a:buFont typeface="Wingdings" pitchFamily="2" charset="2"/>
              <a:buNone/>
              <a:tabLst/>
              <a:defRPr lang="en-GB" sz="1200" b="1"/>
            </a:lvl2pPr>
            <a:lvl3pPr marL="9525" indent="-9525">
              <a:buFont typeface="Wingdings" pitchFamily="2" charset="2"/>
              <a:buNone/>
              <a:tabLst/>
              <a:defRPr lang="en-GB" sz="1200" b="1"/>
            </a:lvl3pPr>
            <a:lvl4pPr marL="9525" indent="-9525">
              <a:buFont typeface="Wingdings" pitchFamily="2" charset="2"/>
              <a:buNone/>
              <a:tabLst/>
              <a:defRPr lang="en-GB" sz="1200" b="1"/>
            </a:lvl4pPr>
            <a:lvl5pPr marL="9525" indent="-9525">
              <a:buFont typeface="Wingdings" pitchFamily="2" charset="2"/>
              <a:buNone/>
              <a:tabLst/>
              <a:defRPr lang="en-GB" sz="1200" b="1"/>
            </a:lvl5pPr>
          </a:lstStyle>
          <a:p>
            <a:pPr marL="9525" lvl="0" indent="0">
              <a:buFont typeface="Wingdings" pitchFamily="2" charset="2"/>
              <a:buNone/>
              <a:tabLst/>
            </a:pPr>
            <a:r>
              <a:rPr lang="en-GB" dirty="0"/>
              <a:t>Point 3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40A88851-670B-3A14-00A7-CEBF6637B810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359998" y="5061776"/>
            <a:ext cx="2603862" cy="767664"/>
          </a:xfrm>
          <a:prstGeom prst="rect">
            <a:avLst/>
          </a:prstGeom>
        </p:spPr>
        <p:txBody>
          <a:bodyPr lIns="0" tIns="0" rIns="0" bIns="0"/>
          <a:lstStyle>
            <a:lvl1pPr marL="9525" indent="-9525">
              <a:buFont typeface="Wingdings" pitchFamily="2" charset="2"/>
              <a:buNone/>
              <a:tabLst/>
              <a:defRPr lang="en-GB" sz="1100" b="1">
                <a:solidFill>
                  <a:schemeClr val="tx2"/>
                </a:solidFill>
              </a:defRPr>
            </a:lvl1pPr>
            <a:lvl2pPr marL="9525" indent="-9525">
              <a:buFont typeface="Wingdings" pitchFamily="2" charset="2"/>
              <a:buNone/>
              <a:tabLst/>
              <a:defRPr lang="en-GB" sz="1200" b="1"/>
            </a:lvl2pPr>
            <a:lvl3pPr marL="9525" indent="-9525">
              <a:buFont typeface="Wingdings" pitchFamily="2" charset="2"/>
              <a:buNone/>
              <a:tabLst/>
              <a:defRPr lang="en-GB" sz="1200" b="1"/>
            </a:lvl3pPr>
            <a:lvl4pPr marL="9525" indent="-9525">
              <a:buFont typeface="Wingdings" pitchFamily="2" charset="2"/>
              <a:buNone/>
              <a:tabLst/>
              <a:defRPr lang="en-GB" sz="1200" b="1"/>
            </a:lvl4pPr>
            <a:lvl5pPr marL="9525" indent="-9525">
              <a:buFont typeface="Wingdings" pitchFamily="2" charset="2"/>
              <a:buNone/>
              <a:tabLst/>
              <a:defRPr lang="en-GB" sz="1200" b="1"/>
            </a:lvl5pPr>
          </a:lstStyle>
          <a:p>
            <a:pPr marL="9525" lvl="0" indent="0">
              <a:buFont typeface="Wingdings" pitchFamily="2" charset="2"/>
              <a:buNone/>
              <a:tabLst/>
            </a:pPr>
            <a:r>
              <a:rPr lang="en-GB" dirty="0"/>
              <a:t>Point 4</a:t>
            </a: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F9DC339A-75FE-507E-C171-4C0F5131FF73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3323429" y="3093216"/>
            <a:ext cx="8491423" cy="767664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spcBef>
                <a:spcPts val="400"/>
              </a:spcBef>
              <a:buFont typeface="Wingdings" pitchFamily="2" charset="2"/>
              <a:buChar char="§"/>
              <a:defRPr lang="en-GB" sz="1100"/>
            </a:lvl1pPr>
            <a:lvl2pPr marL="685800" indent="-228600">
              <a:buFont typeface="Wingdings" pitchFamily="2" charset="2"/>
              <a:buChar char="§"/>
              <a:defRPr lang="en-GB" sz="1200"/>
            </a:lvl2pPr>
            <a:lvl3pPr marL="1143000" indent="-228600">
              <a:buFont typeface="Wingdings" pitchFamily="2" charset="2"/>
              <a:buChar char="§"/>
              <a:defRPr lang="en-GB" sz="1200"/>
            </a:lvl3pPr>
            <a:lvl4pPr marL="1600200" indent="-228600">
              <a:buFont typeface="Wingdings" pitchFamily="2" charset="2"/>
              <a:buChar char="§"/>
              <a:defRPr lang="en-GB" sz="1200"/>
            </a:lvl4pPr>
            <a:lvl5pPr marL="2057400" indent="-228600">
              <a:buFont typeface="Wingdings" pitchFamily="2" charset="2"/>
              <a:buChar char="§"/>
              <a:defRPr lang="en-GB" sz="1200"/>
            </a:lvl5pPr>
          </a:lstStyle>
          <a:p>
            <a:pPr lvl="0"/>
            <a:r>
              <a:rPr lang="en-GB" dirty="0"/>
              <a:t>Bullet 1</a:t>
            </a:r>
          </a:p>
          <a:p>
            <a:pPr lvl="0"/>
            <a:r>
              <a:rPr lang="en-GB" dirty="0"/>
              <a:t>Bullet 2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285DB50C-9240-4021-0F94-281E619070F5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3323429" y="4088006"/>
            <a:ext cx="8491423" cy="767664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spcBef>
                <a:spcPts val="400"/>
              </a:spcBef>
              <a:buFont typeface="Wingdings" pitchFamily="2" charset="2"/>
              <a:buChar char="§"/>
              <a:defRPr lang="en-GB" sz="1100"/>
            </a:lvl1pPr>
            <a:lvl2pPr marL="685800" indent="-228600">
              <a:buFont typeface="Wingdings" pitchFamily="2" charset="2"/>
              <a:buChar char="§"/>
              <a:defRPr lang="en-GB" sz="1200"/>
            </a:lvl2pPr>
            <a:lvl3pPr marL="1143000" indent="-228600">
              <a:buFont typeface="Wingdings" pitchFamily="2" charset="2"/>
              <a:buChar char="§"/>
              <a:defRPr lang="en-GB" sz="1200"/>
            </a:lvl3pPr>
            <a:lvl4pPr marL="1600200" indent="-228600">
              <a:buFont typeface="Wingdings" pitchFamily="2" charset="2"/>
              <a:buChar char="§"/>
              <a:defRPr lang="en-GB" sz="1200"/>
            </a:lvl4pPr>
            <a:lvl5pPr marL="2057400" indent="-228600">
              <a:buFont typeface="Wingdings" pitchFamily="2" charset="2"/>
              <a:buChar char="§"/>
              <a:defRPr lang="en-GB" sz="1200"/>
            </a:lvl5pPr>
          </a:lstStyle>
          <a:p>
            <a:pPr lvl="0"/>
            <a:r>
              <a:rPr lang="en-GB" dirty="0"/>
              <a:t>Bullet 1</a:t>
            </a:r>
          </a:p>
          <a:p>
            <a:pPr lvl="0"/>
            <a:r>
              <a:rPr lang="en-GB" dirty="0"/>
              <a:t>Bullet 2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38DCE444-8051-485A-7227-C1E52E3B6DC5}"/>
              </a:ext>
            </a:extLst>
          </p:cNvPr>
          <p:cNvSpPr>
            <a:spLocks noGrp="1"/>
          </p:cNvSpPr>
          <p:nvPr>
            <p:ph sz="quarter" idx="27" hasCustomPrompt="1"/>
          </p:nvPr>
        </p:nvSpPr>
        <p:spPr>
          <a:xfrm>
            <a:off x="3323429" y="5061776"/>
            <a:ext cx="8491423" cy="767664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spcBef>
                <a:spcPts val="400"/>
              </a:spcBef>
              <a:buFont typeface="Wingdings" pitchFamily="2" charset="2"/>
              <a:buChar char="§"/>
              <a:defRPr lang="en-GB" sz="1100"/>
            </a:lvl1pPr>
            <a:lvl2pPr marL="685800" indent="-228600">
              <a:buFont typeface="Wingdings" pitchFamily="2" charset="2"/>
              <a:buChar char="§"/>
              <a:defRPr lang="en-GB" sz="1200"/>
            </a:lvl2pPr>
            <a:lvl3pPr marL="1143000" indent="-228600">
              <a:buFont typeface="Wingdings" pitchFamily="2" charset="2"/>
              <a:buChar char="§"/>
              <a:defRPr lang="en-GB" sz="1200"/>
            </a:lvl3pPr>
            <a:lvl4pPr marL="1600200" indent="-228600">
              <a:buFont typeface="Wingdings" pitchFamily="2" charset="2"/>
              <a:buChar char="§"/>
              <a:defRPr lang="en-GB" sz="1200"/>
            </a:lvl4pPr>
            <a:lvl5pPr marL="2057400" indent="-228600">
              <a:buFont typeface="Wingdings" pitchFamily="2" charset="2"/>
              <a:buChar char="§"/>
              <a:defRPr lang="en-GB" sz="1200"/>
            </a:lvl5pPr>
          </a:lstStyle>
          <a:p>
            <a:pPr lvl="0"/>
            <a:r>
              <a:rPr lang="en-GB" dirty="0"/>
              <a:t>Bullet 1</a:t>
            </a:r>
          </a:p>
          <a:p>
            <a:pPr lvl="0"/>
            <a:r>
              <a:rPr lang="en-GB" dirty="0"/>
              <a:t>Bullet 2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33355E53-DFA2-F45D-3B0A-18B396DDA7F8}"/>
              </a:ext>
            </a:extLst>
          </p:cNvPr>
          <p:cNvGrpSpPr/>
          <p:nvPr userDrawn="1"/>
        </p:nvGrpSpPr>
        <p:grpSpPr>
          <a:xfrm>
            <a:off x="345486" y="2018371"/>
            <a:ext cx="11482276" cy="3970365"/>
            <a:chOff x="345486" y="2018371"/>
            <a:chExt cx="11482276" cy="3970365"/>
          </a:xfrm>
        </p:grpSpPr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E9E2A7C5-8E84-B57A-C27B-6C257595C386}"/>
                </a:ext>
              </a:extLst>
            </p:cNvPr>
            <p:cNvCxnSpPr>
              <a:cxnSpLocks/>
            </p:cNvCxnSpPr>
            <p:nvPr/>
          </p:nvCxnSpPr>
          <p:spPr>
            <a:xfrm>
              <a:off x="345486" y="2018371"/>
              <a:ext cx="11482276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A61EE6FC-1C3F-59CB-095D-874D3621BB81}"/>
                </a:ext>
              </a:extLst>
            </p:cNvPr>
            <p:cNvCxnSpPr>
              <a:cxnSpLocks/>
            </p:cNvCxnSpPr>
            <p:nvPr/>
          </p:nvCxnSpPr>
          <p:spPr>
            <a:xfrm>
              <a:off x="345486" y="3010962"/>
              <a:ext cx="11482276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45F1B619-76B8-952A-DBE2-98561B2E1425}"/>
                </a:ext>
              </a:extLst>
            </p:cNvPr>
            <p:cNvCxnSpPr>
              <a:cxnSpLocks/>
            </p:cNvCxnSpPr>
            <p:nvPr/>
          </p:nvCxnSpPr>
          <p:spPr>
            <a:xfrm>
              <a:off x="345486" y="4003553"/>
              <a:ext cx="11482276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955DA2DB-C9E2-8F00-D118-4FB20F2B0479}"/>
                </a:ext>
              </a:extLst>
            </p:cNvPr>
            <p:cNvCxnSpPr>
              <a:cxnSpLocks/>
            </p:cNvCxnSpPr>
            <p:nvPr/>
          </p:nvCxnSpPr>
          <p:spPr>
            <a:xfrm>
              <a:off x="345486" y="4996144"/>
              <a:ext cx="11482276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3382A80-A4B1-C89A-EA59-2C9FBFEF3198}"/>
                </a:ext>
              </a:extLst>
            </p:cNvPr>
            <p:cNvCxnSpPr>
              <a:cxnSpLocks/>
            </p:cNvCxnSpPr>
            <p:nvPr/>
          </p:nvCxnSpPr>
          <p:spPr>
            <a:xfrm>
              <a:off x="345486" y="5988736"/>
              <a:ext cx="11482276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402728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162">
          <p15:clr>
            <a:srgbClr val="5ACBF0"/>
          </p15:clr>
        </p15:guide>
        <p15:guide id="3" orient="horz" pos="1298">
          <p15:clr>
            <a:srgbClr val="5ACBF0"/>
          </p15:clr>
        </p15:guide>
        <p15:guide id="4" pos="1980">
          <p15:clr>
            <a:srgbClr val="A4A3A4"/>
          </p15:clr>
        </p15:guide>
        <p15:guide id="5" pos="5813">
          <p15:clr>
            <a:srgbClr val="5ACBF0"/>
          </p15:clr>
        </p15:guide>
        <p15:guide id="6" pos="2094">
          <p15:clr>
            <a:srgbClr val="5ACBF0"/>
          </p15:clr>
        </p15:guide>
        <p15:guide id="7" pos="1867">
          <p15:clr>
            <a:srgbClr val="5ACBF0"/>
          </p15:clr>
        </p15:guide>
        <p15:guide id="8" pos="5700">
          <p15:clr>
            <a:srgbClr val="A4A3A4"/>
          </p15:clr>
        </p15:guide>
        <p15:guide id="9" pos="5586">
          <p15:clr>
            <a:srgbClr val="5ACBF0"/>
          </p15:clr>
        </p15:guide>
        <p15:guide id="10" pos="3727">
          <p15:clr>
            <a:srgbClr val="5ACBF0"/>
          </p15:clr>
        </p15:guide>
        <p15:guide id="11" pos="3953">
          <p15:clr>
            <a:srgbClr val="5ACBF0"/>
          </p15:clr>
        </p15:guide>
        <p15:guide id="12" pos="3840">
          <p15:clr>
            <a:srgbClr val="A4A3A4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0A37BA36-2D21-F481-117E-801CE37F14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938996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A37BA36-2D21-F481-117E-801CE37F14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0F743-7583-E24A-91BB-F7A1FA002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75951" y="6349428"/>
            <a:ext cx="1054848" cy="183600"/>
          </a:xfrm>
        </p:spPr>
        <p:txBody>
          <a:bodyPr/>
          <a:lstStyle/>
          <a:p>
            <a:fld id="{C6A366F5-ADD2-924A-9CC9-AAF3C608492C}" type="slidenum">
              <a:rPr lang="en-GB" smtClean="0"/>
              <a:t>‹#›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F892896-DF6C-E515-B0F1-1891294BF76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54368" y="6349428"/>
            <a:ext cx="4500562" cy="184544"/>
          </a:xfrm>
        </p:spPr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1135705-09E6-131B-9C0F-3E65A1BA870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70510" y="1427514"/>
            <a:ext cx="11449050" cy="1836737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B366E839-B537-9F52-9086-857591B0AAB1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370510" y="330661"/>
            <a:ext cx="10153403" cy="7676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GB"/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C98812A0-2357-6942-510C-6B3597BA74E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6344247"/>
            <a:ext cx="5903913" cy="18454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i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sz="1400" b="1" i="0">
                <a:latin typeface="Libre Baskerville" panose="02000000000000000000" pitchFamily="2" charset="0"/>
              </a:defRPr>
            </a:lvl2pPr>
            <a:lvl3pPr marL="914400" indent="0">
              <a:buNone/>
              <a:defRPr sz="1400" b="1" i="0">
                <a:latin typeface="Libre Baskerville" panose="02000000000000000000" pitchFamily="2" charset="0"/>
              </a:defRPr>
            </a:lvl3pPr>
            <a:lvl4pPr marL="1371600" indent="0">
              <a:buNone/>
              <a:defRPr sz="1400" b="1" i="0">
                <a:latin typeface="Libre Baskerville" panose="02000000000000000000" pitchFamily="2" charset="0"/>
              </a:defRPr>
            </a:lvl4pPr>
            <a:lvl5pPr marL="1828800" indent="0">
              <a:buNone/>
              <a:defRPr sz="1400"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PROJECT OR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1632897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ing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CA60F5B6-49FB-7E35-862C-3DFB9A67A2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5009242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A60F5B6-49FB-7E35-862C-3DFB9A67A2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0F743-7583-E24A-91BB-F7A1FA002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75951" y="6349428"/>
            <a:ext cx="1054848" cy="183600"/>
          </a:xfrm>
        </p:spPr>
        <p:txBody>
          <a:bodyPr/>
          <a:lstStyle/>
          <a:p>
            <a:fld id="{C6A366F5-ADD2-924A-9CC9-AAF3C608492C}" type="slidenum">
              <a:rPr lang="en-GB" smtClean="0"/>
              <a:t>‹#›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F892896-DF6C-E515-B0F1-1891294BF76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54368" y="6349428"/>
            <a:ext cx="4500562" cy="184544"/>
          </a:xfrm>
        </p:spPr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1135705-09E6-131B-9C0F-3E65A1BA870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70510" y="2043055"/>
            <a:ext cx="11449050" cy="1836737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AF6BAAA-CEB5-F7EB-B5DE-0A93BCC10C1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1475" y="1405215"/>
            <a:ext cx="11470799" cy="43946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Subtitle</a:t>
            </a:r>
          </a:p>
          <a:p>
            <a:pPr lvl="0"/>
            <a:endParaRPr lang="en-GB" dirty="0"/>
          </a:p>
          <a:p>
            <a:pPr lvl="0"/>
            <a:endParaRPr lang="en-GB" dirty="0"/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1A57B06D-C762-848C-56B5-A8712EED9AEE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370510" y="330661"/>
            <a:ext cx="10153403" cy="7676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GB"/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A8C73839-84AA-7917-B97D-364C3286F4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6344247"/>
            <a:ext cx="5903913" cy="18454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i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sz="1400" b="1" i="0">
                <a:latin typeface="Libre Baskerville" panose="02000000000000000000" pitchFamily="2" charset="0"/>
              </a:defRPr>
            </a:lvl2pPr>
            <a:lvl3pPr marL="914400" indent="0">
              <a:buNone/>
              <a:defRPr sz="1400" b="1" i="0">
                <a:latin typeface="Libre Baskerville" panose="02000000000000000000" pitchFamily="2" charset="0"/>
              </a:defRPr>
            </a:lvl3pPr>
            <a:lvl4pPr marL="1371600" indent="0">
              <a:buNone/>
              <a:defRPr sz="1400" b="1" i="0">
                <a:latin typeface="Libre Baskerville" panose="02000000000000000000" pitchFamily="2" charset="0"/>
              </a:defRPr>
            </a:lvl4pPr>
            <a:lvl5pPr marL="1828800" indent="0">
              <a:buNone/>
              <a:defRPr sz="1400"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PROJECT OR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2381583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162" userDrawn="1">
          <p15:clr>
            <a:srgbClr val="5ACBF0"/>
          </p15:clr>
        </p15:guide>
        <p15:guide id="3" orient="horz" pos="1298" userDrawn="1">
          <p15:clr>
            <a:srgbClr val="5ACBF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2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0F743-7583-E24A-91BB-F7A1FA002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75951" y="6349428"/>
            <a:ext cx="1054848" cy="183600"/>
          </a:xfrm>
        </p:spPr>
        <p:txBody>
          <a:bodyPr/>
          <a:lstStyle/>
          <a:p>
            <a:fld id="{C6A366F5-ADD2-924A-9CC9-AAF3C608492C}" type="slidenum">
              <a:rPr lang="en-GB" smtClean="0"/>
              <a:t>‹#›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F892896-DF6C-E515-B0F1-1891294BF76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54368" y="6349428"/>
            <a:ext cx="4500562" cy="184544"/>
          </a:xfrm>
        </p:spPr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EBEF153-7643-D7D3-C31F-0A374B4C3A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6343035"/>
            <a:ext cx="5903913" cy="18454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spcBef>
                <a:spcPts val="0"/>
              </a:spcBef>
              <a:buNone/>
              <a:defRPr sz="1200" b="0" i="0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 sz="1400" b="1" i="0">
                <a:latin typeface="Libre Baskerville" panose="02000000000000000000" pitchFamily="2" charset="0"/>
              </a:defRPr>
            </a:lvl2pPr>
            <a:lvl3pPr marL="914400" indent="0">
              <a:buNone/>
              <a:defRPr sz="1400" b="1" i="0">
                <a:latin typeface="Libre Baskerville" panose="02000000000000000000" pitchFamily="2" charset="0"/>
              </a:defRPr>
            </a:lvl3pPr>
            <a:lvl4pPr marL="1371600" indent="0">
              <a:buNone/>
              <a:defRPr sz="1400" b="1" i="0">
                <a:latin typeface="Libre Baskerville" panose="02000000000000000000" pitchFamily="2" charset="0"/>
              </a:defRPr>
            </a:lvl4pPr>
            <a:lvl5pPr marL="1828800" indent="0">
              <a:buNone/>
              <a:defRPr sz="1400"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PROJECT OR SECTION TITL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858F8E6-B21D-592B-DA38-F82B78345B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/>
              <a:t>Title &amp; 2 Column Conten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AF6BAAA-CEB5-F7EB-B5DE-0A93BCC10C1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1476" y="1410690"/>
            <a:ext cx="5545138" cy="433985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Column 1 Heading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74EDFEC-7B72-4184-EFB6-03EC134270E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75388" y="1410690"/>
            <a:ext cx="5545138" cy="433985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Column 2 Heading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EC82EDFC-4D1E-04CE-DF85-9536FDBD8249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70510" y="2042893"/>
            <a:ext cx="5556613" cy="1836737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5CF9AD83-2ABD-A72C-1A90-48755B12A43E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285662" y="2042892"/>
            <a:ext cx="5556613" cy="1836737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596951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162" userDrawn="1">
          <p15:clr>
            <a:srgbClr val="5ACBF0"/>
          </p15:clr>
        </p15:guide>
        <p15:guide id="3" orient="horz" pos="1298" userDrawn="1">
          <p15:clr>
            <a:srgbClr val="5ACBF0"/>
          </p15:clr>
        </p15:guide>
        <p15:guide id="4" pos="3727">
          <p15:clr>
            <a:srgbClr val="5ACBF0"/>
          </p15:clr>
        </p15:guide>
        <p15:guide id="5" pos="3953">
          <p15:clr>
            <a:srgbClr val="5ACBF0"/>
          </p15:clr>
        </p15:guide>
      </p15:sldGuideLst>
    </p:ext>
  </p:extLst>
</p:sldLayout>
</file>

<file path=ppt/slideMasters/_rels/slideMaster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theme" Target="../theme/theme1.xml"/><Relationship Id="rId6" Type="http://schemas.openxmlformats.org/officeDocument/2006/relationships/tags" Target="../tags/tag2.xml"/><Relationship Id="rId7" Type="http://schemas.openxmlformats.org/officeDocument/2006/relationships/oleObject" Target="../embeddings/oleObject1.bin"/><Relationship Id="rId8" Type="http://schemas.openxmlformats.org/officeDocument/2006/relationships/image" Target="../media/image1.emf"/><Relationship Id="rId9" Type="http://schemas.openxmlformats.org/officeDocument/2006/relationships/image" Target="../media/image2.svg"/></Relationships>
</file>

<file path=ppt/slideMasters/_rels/slideMaster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slideLayout" Target="../slideLayouts/slideLayout6.xml"/><Relationship Id="rId3" Type="http://schemas.openxmlformats.org/officeDocument/2006/relationships/slideLayout" Target="../slideLayouts/slideLayout7.xml"/><Relationship Id="rId4" Type="http://schemas.openxmlformats.org/officeDocument/2006/relationships/slideLayout" Target="../slideLayouts/slideLayout8.xml"/><Relationship Id="rId5" Type="http://schemas.openxmlformats.org/officeDocument/2006/relationships/slideLayout" Target="../slideLayouts/slideLayout9.xml"/><Relationship Id="rId6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1.xml"/><Relationship Id="rId8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3.xml"/><Relationship Id="rId10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16.xml"/><Relationship Id="rId13" Type="http://schemas.openxmlformats.org/officeDocument/2006/relationships/slideLayout" Target="../slideLayouts/slideLayout17.xml"/><Relationship Id="rId14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20.xml"/><Relationship Id="rId17" Type="http://schemas.openxmlformats.org/officeDocument/2006/relationships/slideLayout" Target="../slideLayouts/slideLayout21.xml"/><Relationship Id="rId18" Type="http://schemas.openxmlformats.org/officeDocument/2006/relationships/slideLayout" Target="../slideLayouts/slideLayout22.xml"/><Relationship Id="rId19" Type="http://schemas.openxmlformats.org/officeDocument/2006/relationships/slideLayout" Target="../slideLayouts/slideLayout23.xml"/><Relationship Id="rId20" Type="http://schemas.openxmlformats.org/officeDocument/2006/relationships/slideLayout" Target="../slideLayouts/slideLayout24.xml"/><Relationship Id="rId21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27.xml"/><Relationship Id="rId24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29.xml"/><Relationship Id="rId26" Type="http://schemas.openxmlformats.org/officeDocument/2006/relationships/theme" Target="../theme/theme2.xml"/><Relationship Id="rId27" Type="http://schemas.openxmlformats.org/officeDocument/2006/relationships/tags" Target="../tags/tag7.xml"/><Relationship Id="rId28" Type="http://schemas.openxmlformats.org/officeDocument/2006/relationships/oleObject" Target="../embeddings/oleObject6.bin"/><Relationship Id="rId29" Type="http://schemas.openxmlformats.org/officeDocument/2006/relationships/image" Target="../media/image8.emf"/><Relationship Id="rId30" Type="http://schemas.openxmlformats.org/officeDocument/2006/relationships/image" Target="../media/image9.svg"/></Relationships>
</file>

<file path=ppt/slideMasters/_rels/slideMaster3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0.xml"/><Relationship Id="rId2" Type="http://schemas.openxmlformats.org/officeDocument/2006/relationships/slideLayout" Target="../slideLayouts/slideLayout31.xml"/><Relationship Id="rId3" Type="http://schemas.openxmlformats.org/officeDocument/2006/relationships/slideLayout" Target="../slideLayouts/slideLayout32.xml"/><Relationship Id="rId4" Type="http://schemas.openxmlformats.org/officeDocument/2006/relationships/slideLayout" Target="../slideLayouts/slideLayout33.xml"/><Relationship Id="rId5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5.xml"/><Relationship Id="rId7" Type="http://schemas.openxmlformats.org/officeDocument/2006/relationships/theme" Target="../theme/theme3.xml"/><Relationship Id="rId8" Type="http://schemas.openxmlformats.org/officeDocument/2006/relationships/tags" Target="../tags/tag32.xml"/><Relationship Id="rId9" Type="http://schemas.openxmlformats.org/officeDocument/2006/relationships/oleObject" Target="../embeddings/oleObject26.bin"/><Relationship Id="rId10" Type="http://schemas.openxmlformats.org/officeDocument/2006/relationships/image" Target="../media/image30.emf"/><Relationship Id="rId11" Type="http://schemas.openxmlformats.org/officeDocument/2006/relationships/image" Target="../media/image9.svg"/></Relationships>
</file>

<file path=ppt/slideMasters/_rels/slideMaster4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6.xml"/><Relationship Id="rId2" Type="http://schemas.openxmlformats.org/officeDocument/2006/relationships/slideLayout" Target="../slideLayouts/slideLayout37.xml"/><Relationship Id="rId3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9.xml"/><Relationship Id="rId5" Type="http://schemas.openxmlformats.org/officeDocument/2006/relationships/slideLayout" Target="../slideLayouts/slideLayout40.xml"/><Relationship Id="rId6" Type="http://schemas.openxmlformats.org/officeDocument/2006/relationships/theme" Target="../theme/theme4.xml"/><Relationship Id="rId7" Type="http://schemas.openxmlformats.org/officeDocument/2006/relationships/tags" Target="../tags/tag39.xml"/><Relationship Id="rId8" Type="http://schemas.openxmlformats.org/officeDocument/2006/relationships/oleObject" Target="../embeddings/oleObject33.bin"/><Relationship Id="rId9" Type="http://schemas.openxmlformats.org/officeDocument/2006/relationships/image" Target="../media/image37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46323DF-14DD-A624-5169-7A6B0CB3AF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61313927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7772400" imgH="10058400" progId="TCLayout.ActiveDocument.1">
                  <p:embed/>
                </p:oleObj>
              </mc:Choice>
              <mc:Fallback>
                <p:oleObj name="think-cell Slide" r:id="rId7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46323DF-14DD-A624-5169-7A6B0CB3AF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>
            <a:extLst>
              <a:ext uri="{FF2B5EF4-FFF2-40B4-BE49-F238E27FC236}">
                <a16:creationId xmlns:a16="http://schemas.microsoft.com/office/drawing/2014/main" id="{769FE756-EBEE-D319-4EE8-75119AEB486F}"/>
              </a:ext>
            </a:extLst>
          </p:cNvPr>
          <p:cNvSpPr txBox="1"/>
          <p:nvPr userDrawn="1"/>
        </p:nvSpPr>
        <p:spPr>
          <a:xfrm rot="16200000">
            <a:off x="-1519903" y="1350625"/>
            <a:ext cx="285514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GB" sz="1000" b="1" dirty="0">
                <a:solidFill>
                  <a:schemeClr val="accent1"/>
                </a:solidFill>
              </a:rPr>
              <a:t>SLIDE TEMPLATE: 01 JANUARY 2026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7D946265-38E5-9DCB-31E5-7F58709F2E30}"/>
              </a:ext>
            </a:extLst>
          </p:cNvPr>
          <p:cNvPicPr>
            <a:picLocks noChangeAspect="1"/>
          </p:cNvPicPr>
          <p:nvPr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87710" y="373855"/>
            <a:ext cx="1458592" cy="1164000"/>
          </a:xfrm>
          <a:prstGeom prst="rect">
            <a:avLst/>
          </a:prstGeom>
        </p:spPr>
      </p:pic>
      <p:sp>
        <p:nvSpPr>
          <p:cNvPr id="10" name="Title Placeholder 9">
            <a:extLst>
              <a:ext uri="{FF2B5EF4-FFF2-40B4-BE49-F238E27FC236}">
                <a16:creationId xmlns:a16="http://schemas.microsoft.com/office/drawing/2014/main" id="{3C914D5E-966A-2FE8-8EE1-C3150575E8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527063"/>
            <a:ext cx="9956440" cy="1164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3853181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01" r:id="rId1"/>
    <p:sldLayoutId id="2147483769" r:id="rId2"/>
    <p:sldLayoutId id="2147483784" r:id="rId3"/>
    <p:sldLayoutId id="2147483786" r:id="rId4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GB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34">
          <p15:clr>
            <a:srgbClr val="000000"/>
          </p15:clr>
        </p15:guide>
        <p15:guide id="2" orient="horz" pos="232">
          <p15:clr>
            <a:srgbClr val="000000"/>
          </p15:clr>
        </p15:guide>
        <p15:guide id="3" pos="7446">
          <p15:clr>
            <a:srgbClr val="000000"/>
          </p15:clr>
        </p15:guide>
        <p15:guide id="4" orient="horz" pos="4088">
          <p15:clr>
            <a:srgbClr val="000000"/>
          </p15:clr>
        </p15:guide>
        <p15:guide id="9" orient="horz" pos="981" userDrawn="1">
          <p15:clr>
            <a:srgbClr val="A4A3A4"/>
          </p15:clr>
        </p15:guide>
        <p15:guide id="19" orient="horz" pos="3090" userDrawn="1">
          <p15:clr>
            <a:srgbClr val="F26B43"/>
          </p15:clr>
        </p15:guide>
        <p15:guide id="20" orient="horz" pos="2863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83246F7-8C78-0D69-33B5-38FA84FB9F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87344254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7772400" imgH="10058400" progId="TCLayout.ActiveDocument.1">
                  <p:embed/>
                </p:oleObj>
              </mc:Choice>
              <mc:Fallback>
                <p:oleObj name="think-cell Slide" r:id="rId28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83246F7-8C78-0D69-33B5-38FA84FB9F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8D5DFD0-727B-D99A-A709-91C9829600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75951" y="6349428"/>
            <a:ext cx="1054848" cy="18454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C6A366F5-ADD2-924A-9CC9-AAF3C608492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AAF5778-4443-791C-0DEB-FB51D5035AE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54368" y="6349428"/>
            <a:ext cx="4500562" cy="18454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GB" dirty="0"/>
              <a:t>Copyright BFY Group, 2026 – All rights reserved. Confidential and proprietary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F33DA84-F0EF-B1A9-731F-89BA9E14F64C}"/>
              </a:ext>
            </a:extLst>
          </p:cNvPr>
          <p:cNvSpPr/>
          <p:nvPr userDrawn="1"/>
        </p:nvSpPr>
        <p:spPr>
          <a:xfrm>
            <a:off x="370510" y="-8893"/>
            <a:ext cx="1103040" cy="12971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2523FB4B-D5AF-2C5D-D60E-5E04D30AAAA5}"/>
              </a:ext>
            </a:extLst>
          </p:cNvPr>
          <p:cNvPicPr>
            <a:picLocks noChangeAspect="1"/>
          </p:cNvPicPr>
          <p:nvPr userDrawn="1"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10905599" y="359987"/>
            <a:ext cx="925200" cy="738338"/>
          </a:xfrm>
          <a:prstGeom prst="rect">
            <a:avLst/>
          </a:prstGeom>
        </p:spPr>
      </p:pic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C5D323C0-521F-C742-295E-EBF2C93173AE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370510" y="330661"/>
            <a:ext cx="10153403" cy="7676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GB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1DA62EF-101B-46E6-CAA5-279C98784332}"/>
              </a:ext>
            </a:extLst>
          </p:cNvPr>
          <p:cNvSpPr txBox="1"/>
          <p:nvPr userDrawn="1"/>
        </p:nvSpPr>
        <p:spPr>
          <a:xfrm rot="16200000">
            <a:off x="-1519903" y="1350625"/>
            <a:ext cx="285514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GB" sz="1000" b="1" dirty="0">
                <a:solidFill>
                  <a:schemeClr val="accent1"/>
                </a:solidFill>
              </a:rPr>
              <a:t>SLIDE TEMPLATE: 01 JANUARY 2026</a:t>
            </a:r>
          </a:p>
        </p:txBody>
      </p:sp>
    </p:spTree>
    <p:extLst>
      <p:ext uri="{BB962C8B-B14F-4D97-AF65-F5344CB8AC3E}">
        <p14:creationId xmlns:p14="http://schemas.microsoft.com/office/powerpoint/2010/main" val="31245565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91" r:id="rId2"/>
    <p:sldLayoutId id="2147483719" r:id="rId3"/>
    <p:sldLayoutId id="2147483720" r:id="rId4"/>
    <p:sldLayoutId id="2147483785" r:id="rId5"/>
    <p:sldLayoutId id="2147483722" r:id="rId6"/>
    <p:sldLayoutId id="2147483723" r:id="rId7"/>
    <p:sldLayoutId id="2147483724" r:id="rId8"/>
    <p:sldLayoutId id="2147483725" r:id="rId9"/>
    <p:sldLayoutId id="2147483771" r:id="rId10"/>
    <p:sldLayoutId id="2147483772" r:id="rId11"/>
    <p:sldLayoutId id="2147483773" r:id="rId12"/>
    <p:sldLayoutId id="2147483774" r:id="rId13"/>
    <p:sldLayoutId id="2147483775" r:id="rId14"/>
    <p:sldLayoutId id="2147483776" r:id="rId15"/>
    <p:sldLayoutId id="2147483777" r:id="rId16"/>
    <p:sldLayoutId id="2147483778" r:id="rId17"/>
    <p:sldLayoutId id="2147483779" r:id="rId18"/>
    <p:sldLayoutId id="2147483787" r:id="rId19"/>
    <p:sldLayoutId id="2147483788" r:id="rId20"/>
    <p:sldLayoutId id="2147483783" r:id="rId21"/>
    <p:sldLayoutId id="2147483780" r:id="rId22"/>
    <p:sldLayoutId id="2147483781" r:id="rId23"/>
    <p:sldLayoutId id="2147483789" r:id="rId24"/>
    <p:sldLayoutId id="2147483790" r:id="rId25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GB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34">
          <p15:clr>
            <a:srgbClr val="000000"/>
          </p15:clr>
        </p15:guide>
        <p15:guide id="2" orient="horz" pos="232">
          <p15:clr>
            <a:srgbClr val="000000"/>
          </p15:clr>
        </p15:guide>
        <p15:guide id="3" pos="7446">
          <p15:clr>
            <a:srgbClr val="000000"/>
          </p15:clr>
        </p15:guide>
        <p15:guide id="4" orient="horz" pos="4088">
          <p15:clr>
            <a:srgbClr val="000000"/>
          </p15:clr>
        </p15:guide>
        <p15:guide id="5" orient="horz" pos="686" userDrawn="1">
          <p15:clr>
            <a:srgbClr val="000000"/>
          </p15:clr>
        </p15:guide>
        <p15:guide id="8" orient="horz" pos="595" userDrawn="1">
          <p15:clr>
            <a:srgbClr val="000000"/>
          </p15:clr>
        </p15:guide>
        <p15:guide id="9" orient="horz" pos="3861">
          <p15:clr>
            <a:srgbClr val="F26B43"/>
          </p15:clr>
        </p15:guide>
        <p15:guide id="12" orient="horz" pos="913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EB5C486-73DB-C16B-70DE-602A51496B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10971583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7772400" imgH="10058400" progId="TCLayout.ActiveDocument.1">
                  <p:embed/>
                </p:oleObj>
              </mc:Choice>
              <mc:Fallback>
                <p:oleObj name="think-cell Slide" r:id="rId9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EB5C486-73DB-C16B-70DE-602A51496B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8D5DFD0-727B-D99A-A709-91C9829600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75951" y="6349428"/>
            <a:ext cx="1054848" cy="18454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C6A366F5-ADD2-924A-9CC9-AAF3C608492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AAF5778-4443-791C-0DEB-FB51D5035AE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54368" y="6349428"/>
            <a:ext cx="4500562" cy="18454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GB" dirty="0"/>
              <a:t>Copyright BFY Group, 2026 – All rights reserved. Confidential and proprietary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F8F0B390-91C1-26FD-DB2C-68F16A0C4A5F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370510" y="330662"/>
            <a:ext cx="9972675" cy="73833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GB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4B664A28-CD43-AAFF-D2BC-B3CD1666676B}"/>
              </a:ext>
            </a:extLst>
          </p:cNvPr>
          <p:cNvPicPr>
            <a:picLocks noChangeAspect="1"/>
          </p:cNvPicPr>
          <p:nvPr userDrawn="1"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905599" y="359987"/>
            <a:ext cx="925200" cy="738338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8CACF006-4C73-FE89-7046-E9C0700BF1CD}"/>
              </a:ext>
            </a:extLst>
          </p:cNvPr>
          <p:cNvSpPr/>
          <p:nvPr userDrawn="1"/>
        </p:nvSpPr>
        <p:spPr>
          <a:xfrm>
            <a:off x="370510" y="-8893"/>
            <a:ext cx="1103040" cy="12971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2CC7A4C-597F-BB32-9F9F-A72403B5C6CF}"/>
              </a:ext>
            </a:extLst>
          </p:cNvPr>
          <p:cNvSpPr txBox="1"/>
          <p:nvPr userDrawn="1"/>
        </p:nvSpPr>
        <p:spPr>
          <a:xfrm rot="16200000">
            <a:off x="-1519903" y="1350625"/>
            <a:ext cx="285514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GB" sz="1000" b="1" dirty="0">
                <a:solidFill>
                  <a:schemeClr val="accent1"/>
                </a:solidFill>
              </a:rPr>
              <a:t>SLIDE TEMPLATE: 01 JANUARY 2026</a:t>
            </a:r>
          </a:p>
        </p:txBody>
      </p:sp>
    </p:spTree>
    <p:extLst>
      <p:ext uri="{BB962C8B-B14F-4D97-AF65-F5344CB8AC3E}">
        <p14:creationId xmlns:p14="http://schemas.microsoft.com/office/powerpoint/2010/main" val="29858621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732" r:id="rId6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GB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34">
          <p15:clr>
            <a:srgbClr val="000000"/>
          </p15:clr>
        </p15:guide>
        <p15:guide id="2" orient="horz" pos="232">
          <p15:clr>
            <a:srgbClr val="000000"/>
          </p15:clr>
        </p15:guide>
        <p15:guide id="3" pos="7446">
          <p15:clr>
            <a:srgbClr val="000000"/>
          </p15:clr>
        </p15:guide>
        <p15:guide id="4" orient="horz" pos="4088">
          <p15:clr>
            <a:srgbClr val="000000"/>
          </p15:clr>
        </p15:guide>
        <p15:guide id="5" orient="horz" pos="777">
          <p15:clr>
            <a:srgbClr val="000000"/>
          </p15:clr>
        </p15:guide>
        <p15:guide id="8" orient="horz" pos="709">
          <p15:clr>
            <a:srgbClr val="000000"/>
          </p15:clr>
        </p15:guide>
        <p15:guide id="9" orient="horz" pos="3861">
          <p15:clr>
            <a:srgbClr val="F26B43"/>
          </p15:clr>
        </p15:guide>
        <p15:guide id="12" orient="horz" pos="913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F37E50E-E589-542B-CA21-13468A4AB5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74948280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7772400" imgH="10058400" progId="TCLayout.ActiveDocument.1">
                  <p:embed/>
                </p:oleObj>
              </mc:Choice>
              <mc:Fallback>
                <p:oleObj name="think-cell Slide" r:id="rId8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37E50E-E589-542B-CA21-13468A4AB5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161BE16-BB64-CDFC-A36B-2DAB016BD738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6275388" y="1592263"/>
            <a:ext cx="5545137" cy="86518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GB"/>
              <a:t>Thank You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1FC3BA9-9FB8-3A92-134B-563013D6F04B}"/>
              </a:ext>
            </a:extLst>
          </p:cNvPr>
          <p:cNvSpPr txBox="1"/>
          <p:nvPr userDrawn="1"/>
        </p:nvSpPr>
        <p:spPr>
          <a:xfrm rot="16200000">
            <a:off x="-1519903" y="1350625"/>
            <a:ext cx="285514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GB" sz="1000" b="1" dirty="0">
                <a:solidFill>
                  <a:schemeClr val="accent1"/>
                </a:solidFill>
              </a:rPr>
              <a:t>SLIDE TEMPLATE: 01 JANUARY 2026</a:t>
            </a:r>
          </a:p>
        </p:txBody>
      </p:sp>
    </p:spTree>
    <p:extLst>
      <p:ext uri="{BB962C8B-B14F-4D97-AF65-F5344CB8AC3E}">
        <p14:creationId xmlns:p14="http://schemas.microsoft.com/office/powerpoint/2010/main" val="22741192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697" r:id="rId2"/>
    <p:sldLayoutId id="2147483698" r:id="rId3"/>
    <p:sldLayoutId id="2147483699" r:id="rId4"/>
    <p:sldLayoutId id="2147483756" r:id="rId5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GB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34">
          <p15:clr>
            <a:srgbClr val="000000"/>
          </p15:clr>
        </p15:guide>
        <p15:guide id="2" orient="horz" pos="210" userDrawn="1">
          <p15:clr>
            <a:srgbClr val="000000"/>
          </p15:clr>
        </p15:guide>
        <p15:guide id="3" pos="7446">
          <p15:clr>
            <a:srgbClr val="000000"/>
          </p15:clr>
        </p15:guide>
        <p15:guide id="4" orient="horz" pos="4088">
          <p15:clr>
            <a:srgbClr val="000000"/>
          </p15:clr>
        </p15:guide>
        <p15:guide id="5" orient="horz" pos="777">
          <p15:clr>
            <a:srgbClr val="000000"/>
          </p15:clr>
        </p15:guide>
        <p15:guide id="6" pos="3840">
          <p15:clr>
            <a:srgbClr val="A4A3A4"/>
          </p15:clr>
        </p15:guide>
        <p15:guide id="7" orient="horz" pos="2160">
          <p15:clr>
            <a:srgbClr val="A4A3A4"/>
          </p15:clr>
        </p15:guide>
        <p15:guide id="8" orient="horz" pos="709">
          <p15:clr>
            <a:srgbClr val="000000"/>
          </p15:clr>
        </p15:guide>
        <p15:guide id="9" orient="horz" pos="3861">
          <p15:clr>
            <a:srgbClr val="F26B43"/>
          </p15:clr>
        </p15:guide>
        <p15:guide id="12" orient="horz" pos="1003">
          <p15:clr>
            <a:srgbClr val="F26B43"/>
          </p15:clr>
        </p15:guide>
        <p15:guide id="13" pos="3953">
          <p15:clr>
            <a:srgbClr val="F26B43"/>
          </p15:clr>
        </p15:guide>
        <p15:guide id="14" pos="3727">
          <p15:clr>
            <a:srgbClr val="F26B43"/>
          </p15:clr>
        </p15:guide>
      </p15:sldGuideLst>
    </p:ext>
  </p:extLst>
</p:sldMaster>
</file>

<file path=ppt/slides/_rels/slide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/Relationships>
</file>

<file path=ppt/slides/_rels/slide10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10.xml"/></Relationships>
</file>

<file path=ppt/slides/_rels/slide1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11.xml"/></Relationships>
</file>

<file path=ppt/slides/_rels/slide1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12.xml"/></Relationships>
</file>

<file path=ppt/slides/_rels/slide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2.xml"/></Relationships>
</file>

<file path=ppt/slides/_rels/slide3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3.xml"/></Relationships>
</file>

<file path=ppt/slides/_rels/slide4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4.xml"/></Relationships>
</file>

<file path=ppt/slides/_rels/slide5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9.xml"/><Relationship Id="rId2" Type="http://schemas.openxmlformats.org/officeDocument/2006/relationships/notesSlide" Target="../notesSlides/notesSlide5.xml"/></Relationships>
</file>

<file path=ppt/slides/_rels/slide6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6.xml"/></Relationships>
</file>

<file path=ppt/slides/_rels/slide7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7.xml"/></Relationships>
</file>

<file path=ppt/slides/_rels/slide8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8.xml"/></Relationships>
</file>

<file path=ppt/slides/_rels/slide9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9" name="Title 8">
            <a:extLst>
              <a:ext uri="{FF2B5EF4-FFF2-40B4-BE49-F238E27FC236}">
                <a16:creationId xmlns:a16="http://schemas.microsoft.com/office/drawing/2014/main" id="{F14FB5E2-A231-805D-6EDB-2EB1E0C237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Monetising Distributed Solar Portfolio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D7D39C7-2E26-4349-B4FE-567A4BCCC2C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How to maximise value from housing association solar assets without unnecessary complexity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A8C25EA-C336-669C-E222-749D2A1E6CA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t>PREPARED FOR: SENIOR STAKEHOLDERS</a:t>
            </a:r>
          </a:p>
          <a:p>
            <a:r>
              <a:t>08 APRIL 2026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Content Placeholder 1"/>
          <p:cNvSpPr>
            <a:spLocks noGrp="1"/>
          </p:cNvSpPr>
          <p:nvPr>
            <p:ph idx="15" sz="quarter"/>
          </p:nvPr>
        </p:nvSpPr>
        <p:spPr/>
        <p:txBody>
          <a:bodyPr/>
          <a:lstStyle/>
          <a:p>
            <a:pPr/>
            <a:r>
              <a:t>Balances near-term value with long-term strategic positioning</a:t>
            </a:r>
          </a:p>
          <a:p>
            <a:pPr/>
            <a:r>
              <a:t>Adopt supplier-partner model as the core commercial structure</a:t>
            </a:r>
          </a:p>
          <a:p>
            <a:pPr/>
            <a:r>
              <a:t>Use PPA-based arrangements to monetise generation efficiently</a:t>
            </a:r>
          </a:p>
          <a:p>
            <a:pPr/>
            <a:r>
              <a:t>Introduce storage selectively where economics support it</a:t>
            </a:r>
          </a:p>
          <a:p>
            <a:pPr/>
            <a:r>
              <a:t>Aggregate portfolio to participate in flexibility markets over time</a:t>
            </a:r>
          </a:p>
          <a:p>
            <a:pPr/>
            <a:r>
              <a:t>Maintain optionality without committing to full supply complexity</a:t>
            </a:r>
          </a:p>
          <a:p>
            <a:pPr/>
            <a:r>
              <a:t>Avoid full supply licensing unless strategic shift is explici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commended model combines supplier partnership with optionality for flexibility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5CAD230-1430-2D18-CDAD-1ADEEC8C346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>
                <a:solidFill>
                  <a:schemeClr val="accent1"/>
                </a:solidFill>
              </a:rPr>
              <a:t>MONETISING DISTRIBUTED SOLAR</a:t>
            </a:r>
            <a:br>
              <a:rPr lang="en-GB" dirty="0"/>
            </a:br>
            <a:r>
              <a:rPr lang="en-GB" dirty="0"/>
              <a:t>STRATEGIC OPTION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6C3FDFB-0584-E63F-02DF-9C4C868F4A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t>10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5602060-85A2-50CC-D80B-250221B0D1D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Content Placeholder 1"/>
          <p:cNvSpPr>
            <a:spLocks noGrp="1"/>
          </p:cNvSpPr>
          <p:nvPr>
            <p:ph idx="15" sz="quarter"/>
          </p:nvPr>
        </p:nvSpPr>
        <p:spPr/>
        <p:txBody>
          <a:bodyPr/>
          <a:lstStyle/>
          <a:p>
            <a:pPr/>
            <a:r>
              <a:t>The challenge is organisational and contractual, not technical</a:t>
            </a:r>
          </a:p>
          <a:p>
            <a:pPr/>
            <a:r>
              <a:t>Select supplier partner aligned to strategic and commercial objectives</a:t>
            </a:r>
          </a:p>
          <a:p>
            <a:pPr/>
            <a:r>
              <a:t>Design PPA and tariff structures to optimise value capture</a:t>
            </a:r>
          </a:p>
          <a:p>
            <a:pPr/>
            <a:r>
              <a:t>Align approach with housing association stakeholders</a:t>
            </a:r>
          </a:p>
          <a:p>
            <a:pPr/>
            <a:r>
              <a:t>Pilot model on subset of portfolio before scaling</a:t>
            </a:r>
          </a:p>
          <a:p>
            <a:pPr/>
            <a:r>
              <a:t>Ensure data visibility across generation and consumption</a:t>
            </a:r>
          </a:p>
          <a:p>
            <a:pPr/>
            <a:r>
              <a:t>Maintain contractual flexibility for future enhancement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Execution will be driven by commercial structuring and partner selection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5CAD230-1430-2D18-CDAD-1ADEEC8C346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>
                <a:solidFill>
                  <a:schemeClr val="accent1"/>
                </a:solidFill>
              </a:rPr>
              <a:t>MONETISING DISTRIBUTED SOLAR</a:t>
            </a:r>
            <a:br>
              <a:rPr lang="en-GB" dirty="0"/>
            </a:br>
            <a:r>
              <a:rPr lang="en-GB" dirty="0"/>
              <a:t>STRATEGIC OPTION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6C3FDFB-0584-E63F-02DF-9C4C868F4A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t>11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5602060-85A2-50CC-D80B-250221B0D1D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Content Placeholder 1"/>
          <p:cNvSpPr>
            <a:spLocks noGrp="1"/>
          </p:cNvSpPr>
          <p:nvPr>
            <p:ph idx="15" sz="quarter"/>
          </p:nvPr>
        </p:nvSpPr>
        <p:spPr/>
        <p:txBody>
          <a:bodyPr/>
          <a:lstStyle/>
          <a:p>
            <a:pPr/>
            <a:r>
              <a:t>Current view is directional; next phase should quantify value</a:t>
            </a:r>
          </a:p>
          <a:p>
            <a:pPr/>
            <a:r>
              <a:t>Portfolio data required includes installed capacity and generation profiles</a:t>
            </a:r>
          </a:p>
          <a:p>
            <a:pPr/>
            <a:r>
              <a:t>Understand self-consumption versus export ratios across assets</a:t>
            </a:r>
          </a:p>
          <a:p>
            <a:pPr/>
            <a:r>
              <a:t>Map tenant supply arrangements and switching flexibility</a:t>
            </a:r>
          </a:p>
          <a:p>
            <a:pPr/>
            <a:r>
              <a:t>Identify current export mechanisms such as SEG or PPAs</a:t>
            </a:r>
          </a:p>
          <a:p>
            <a:pPr/>
            <a:r>
              <a:t>Define strategic ambition for customer ownership and value capture</a:t>
            </a:r>
          </a:p>
          <a:p>
            <a:pPr/>
            <a:r>
              <a:t>Assess appetite for risk, capability build, and storage deploymen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A robust feasibility assessment requires portfolio-level data and strategic clarity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5CAD230-1430-2D18-CDAD-1ADEEC8C346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>
                <a:solidFill>
                  <a:schemeClr val="accent1"/>
                </a:solidFill>
              </a:rPr>
              <a:t>MONETISING DISTRIBUTED SOLAR</a:t>
            </a:r>
            <a:br>
              <a:rPr lang="en-GB" dirty="0"/>
            </a:br>
            <a:r>
              <a:rPr lang="en-GB" dirty="0"/>
              <a:t>STRATEGIC OPTION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6C3FDFB-0584-E63F-02DF-9C4C868F4A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t>12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5602060-85A2-50CC-D80B-250221B0D1D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Content Placeholder 1"/>
          <p:cNvSpPr>
            <a:spLocks noGrp="1"/>
          </p:cNvSpPr>
          <p:nvPr>
            <p:ph idx="15" sz="quarter"/>
          </p:nvPr>
        </p:nvSpPr>
        <p:spPr/>
        <p:txBody>
          <a:bodyPr/>
          <a:lstStyle/>
          <a:p>
            <a:pPr/>
            <a:r>
              <a:t>Supplier-partner models maximise value without introducing disproportionate operational complexit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7" sz="quarter"/>
          </p:nvPr>
        </p:nvSpPr>
        <p:spPr/>
        <p:txBody>
          <a:bodyPr/>
          <a:lstStyle/>
          <a:p>
            <a:pPr/>
            <a:r>
              <a:t>Sleeved PPA and white-label structures capture meaningful margin while outsourcing settlement and billing</a:t>
            </a:r>
          </a:p>
          <a:p>
            <a:pPr/>
            <a:r>
              <a:t>Enables rapid scaling across fragmented housing portfolios without building retail capability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Supplier-partner model delivers best balance of value, risk, and scalability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idx="16" sz="quarter"/>
          </p:nvPr>
        </p:nvSpPr>
        <p:spPr/>
        <p:txBody>
          <a:bodyPr/>
          <a:lstStyle/>
          <a:p>
            <a:pPr/>
            <a:r>
              <a:t>Full supply is rarely justified; future value sits in flexibility and optimisation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idx="22" sz="quarter"/>
          </p:nvPr>
        </p:nvSpPr>
        <p:spPr/>
        <p:txBody>
          <a:bodyPr/>
          <a:lstStyle/>
          <a:p>
            <a:pPr/>
            <a:r>
              <a:t>Full supply licensing offers highest theoretical upside but materially changes the business model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idx="23" sz="quarter"/>
          </p:nvPr>
        </p:nvSpPr>
        <p:spPr/>
        <p:txBody>
          <a:bodyPr/>
          <a:lstStyle/>
          <a:p>
            <a:pPr/>
            <a:r>
              <a:t>Export-only models are simple but structurally low value and strategically limiting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idx="24" sz="quarter"/>
          </p:nvPr>
        </p:nvSpPr>
        <p:spPr/>
        <p:txBody>
          <a:bodyPr/>
          <a:lstStyle/>
          <a:p>
            <a:pPr/>
            <a:r>
              <a:t>The next wave of value will come from flexibility, storage, and portfolio aggregatio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idx="25" sz="quarter"/>
          </p:nvPr>
        </p:nvSpPr>
        <p:spPr/>
        <p:txBody>
          <a:bodyPr/>
          <a:lstStyle/>
          <a:p>
            <a:pPr/>
            <a:r>
              <a:t>Requires capabilities in hedging, settlement, billing, and regulatory compliance that aren't core to asset ownership</a:t>
            </a:r>
          </a:p>
          <a:p>
            <a:pPr/>
            <a:r>
              <a:t>Introduces working capital exposure and operational risk that dilute infrastructure-style returns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idx="26" sz="quarter"/>
          </p:nvPr>
        </p:nvSpPr>
        <p:spPr/>
        <p:txBody>
          <a:bodyPr/>
          <a:lstStyle/>
          <a:p>
            <a:pPr/>
            <a:r>
              <a:t>SEG and export PPAs monetise surplus generation but leave margin with suppliers</a:t>
            </a:r>
          </a:p>
          <a:p>
            <a:pPr/>
            <a:r>
              <a:t>No control of customer relationship or ability to optimise demand-side valu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idx="27" sz="quarter"/>
          </p:nvPr>
        </p:nvSpPr>
        <p:spPr/>
        <p:txBody>
          <a:bodyPr/>
          <a:lstStyle/>
          <a:p>
            <a:pPr/>
            <a:r>
              <a:t>Batteries unlock arbitrage and network service revenues that can exceed export value</a:t>
            </a:r>
          </a:p>
          <a:p>
            <a:pPr/>
            <a:r>
              <a:t>Positioning early enables participation in emerging local and system flexibility markets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F0BF8AD8-AFEC-9487-5D97-33497887320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>
                <a:solidFill>
                  <a:schemeClr val="accent1"/>
                </a:solidFill>
              </a:rPr>
              <a:t>MONETISING DISTRIBUTED SOLAR</a:t>
            </a:r>
            <a:br>
              <a:rPr lang="en-GB" dirty="0"/>
            </a:br>
            <a:r>
              <a:rPr lang="en-GB" dirty="0"/>
              <a:t>STRATEGIC OPTION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1DB0408-672A-1464-AA5C-860CBB3345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t>2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DCC0C56-88B8-3B68-626E-DAA0842FADCF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/>
              <a:t>Copyright BFY Group, 2026 – All rights reserved. Confidential and proprietary</a:t>
            </a:r>
            <a:endParaRPr lang="en-GB" dirty="0"/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5B77FF70-287D-0796-6DB0-5DB6F5681EDA}"/>
              </a:ext>
            </a:extLst>
          </p:cNvPr>
          <p:cNvCxnSpPr>
            <a:cxnSpLocks/>
          </p:cNvCxnSpPr>
          <p:nvPr/>
        </p:nvCxnSpPr>
        <p:spPr>
          <a:xfrm>
            <a:off x="345486" y="2018371"/>
            <a:ext cx="11482276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D7B403E5-399D-BE1F-432B-FA5E5FBB0074}"/>
              </a:ext>
            </a:extLst>
          </p:cNvPr>
          <p:cNvCxnSpPr>
            <a:cxnSpLocks/>
          </p:cNvCxnSpPr>
          <p:nvPr/>
        </p:nvCxnSpPr>
        <p:spPr>
          <a:xfrm>
            <a:off x="345486" y="3010962"/>
            <a:ext cx="11482276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17ACFBE6-266E-D27C-D884-6957F9D9F337}"/>
              </a:ext>
            </a:extLst>
          </p:cNvPr>
          <p:cNvCxnSpPr>
            <a:cxnSpLocks/>
          </p:cNvCxnSpPr>
          <p:nvPr/>
        </p:nvCxnSpPr>
        <p:spPr>
          <a:xfrm>
            <a:off x="345486" y="4003553"/>
            <a:ext cx="11482276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433A5107-9F3B-8BEB-9429-DA238929B2BB}"/>
              </a:ext>
            </a:extLst>
          </p:cNvPr>
          <p:cNvCxnSpPr>
            <a:cxnSpLocks/>
          </p:cNvCxnSpPr>
          <p:nvPr/>
        </p:nvCxnSpPr>
        <p:spPr>
          <a:xfrm>
            <a:off x="345486" y="4996144"/>
            <a:ext cx="11482276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4E083ACB-4598-C597-FE73-139F61A9C38E}"/>
              </a:ext>
            </a:extLst>
          </p:cNvPr>
          <p:cNvCxnSpPr>
            <a:cxnSpLocks/>
          </p:cNvCxnSpPr>
          <p:nvPr/>
        </p:nvCxnSpPr>
        <p:spPr>
          <a:xfrm>
            <a:off x="345486" y="5988736"/>
            <a:ext cx="11482276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3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Content Placeholder 1"/>
          <p:cNvSpPr>
            <a:spLocks noGrp="1"/>
          </p:cNvSpPr>
          <p:nvPr>
            <p:ph idx="15" sz="quarter"/>
          </p:nvPr>
        </p:nvSpPr>
        <p:spPr/>
        <p:txBody>
          <a:bodyPr/>
          <a:lstStyle/>
          <a:p>
            <a:pPr/>
            <a:r>
              <a:t>Monetisation pathways follow from strategic identity rather than drive it</a:t>
            </a:r>
          </a:p>
          <a:p>
            <a:pPr/>
            <a:r>
              <a:t>Three strategic archetypes define the choice: asset owner, energy services provider, retail supplier</a:t>
            </a:r>
          </a:p>
          <a:p>
            <a:pPr/>
            <a:r>
              <a:t>Each archetype drives capability requirements, risk exposure, and capital intensity</a:t>
            </a:r>
          </a:p>
          <a:p>
            <a:pPr/>
            <a:r>
              <a:t>Asset owner model focuses on yield and simplicity with limited customer interaction</a:t>
            </a:r>
          </a:p>
          <a:p>
            <a:pPr/>
            <a:r>
              <a:t>Energy services model captures additional value through customer and demand interaction</a:t>
            </a:r>
          </a:p>
          <a:p>
            <a:pPr/>
            <a:r>
              <a:t>Retail supplier model requires full operational capability and regulatory compliance</a:t>
            </a:r>
          </a:p>
          <a:p>
            <a:pPr/>
            <a:r>
              <a:t>Regulatory pathways are a consequence of this choice, not the starting poin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The decision is fundamentally about business model, not regulatory rout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5CAD230-1430-2D18-CDAD-1ADEEC8C346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>
                <a:solidFill>
                  <a:schemeClr val="accent1"/>
                </a:solidFill>
              </a:rPr>
              <a:t>MONETISING DISTRIBUTED SOLAR</a:t>
            </a:r>
            <a:br>
              <a:rPr lang="en-GB" dirty="0"/>
            </a:br>
            <a:r>
              <a:rPr lang="en-GB" dirty="0"/>
              <a:t>STRATEGIC OPTION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6C3FDFB-0584-E63F-02DF-9C4C868F4A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t>3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5602060-85A2-50CC-D80B-250221B0D1D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Content Placeholder 1"/>
          <p:cNvSpPr>
            <a:spLocks noGrp="1"/>
          </p:cNvSpPr>
          <p:nvPr>
            <p:ph idx="15" sz="quarter"/>
          </p:nvPr>
        </p:nvSpPr>
        <p:spPr/>
        <p:txBody>
          <a:bodyPr/>
          <a:lstStyle/>
          <a:p>
            <a:pPr/>
            <a:r>
              <a:t>Options range from passive generation to full retail supply</a:t>
            </a:r>
          </a:p>
          <a:p>
            <a:pPr/>
            <a:r>
              <a:t>Export generation through SEG, export PPAs, or aggregators provides simple monetisation</a:t>
            </a:r>
          </a:p>
          <a:p>
            <a:pPr/>
            <a:r>
              <a:t>Supplier partnership models enable shared value capture with outsourced operations</a:t>
            </a:r>
          </a:p>
          <a:p>
            <a:pPr/>
            <a:r>
              <a:t>Licence Lite provides a hybrid approach with partial control and reduced complexity</a:t>
            </a:r>
          </a:p>
          <a:p>
            <a:pPr/>
            <a:r>
              <a:t>Full supply licence enables full value capture but with significant operational burden</a:t>
            </a:r>
          </a:p>
          <a:p>
            <a:pPr/>
            <a:r>
              <a:t>Flexibility-led models introduce new revenue streams through storage and aggregation</a:t>
            </a:r>
          </a:p>
          <a:p>
            <a:pPr/>
            <a:r>
              <a:t>All options differ primarily on value capture per kWh and operational complexity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Five monetisation pathways exist across a clear value and complexity spectrum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5CAD230-1430-2D18-CDAD-1ADEEC8C346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>
                <a:solidFill>
                  <a:schemeClr val="accent1"/>
                </a:solidFill>
              </a:rPr>
              <a:t>MONETISING DISTRIBUTED SOLAR</a:t>
            </a:r>
            <a:br>
              <a:rPr lang="en-GB" dirty="0"/>
            </a:br>
            <a:r>
              <a:rPr lang="en-GB" dirty="0"/>
              <a:t>STRATEGIC OPTION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6C3FDFB-0584-E63F-02DF-9C4C868F4A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t>4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5602060-85A2-50CC-D80B-250221B0D1D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Strategic options show clear trade-offs between value, control, and complexity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B4FB7739-8D2C-3448-3D18-2DC69C37408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1475" y="6344247"/>
            <a:ext cx="5903913" cy="184544"/>
          </a:xfrm>
        </p:spPr>
        <p:txBody>
          <a:bodyPr/>
          <a:lstStyle/>
          <a:p>
            <a:r>
              <a:rPr lang="en-GB" dirty="0">
                <a:solidFill>
                  <a:schemeClr val="accent1"/>
                </a:solidFill>
              </a:rPr>
              <a:t>MONETISING DISTRIBUTED SOLAR</a:t>
            </a:r>
            <a:br>
              <a:rPr lang="en-GB" dirty="0"/>
            </a:br>
            <a:r>
              <a:rPr lang="en-GB" dirty="0"/>
              <a:t>STRATEGIC OPTION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94DEB32-562F-96B1-670E-2BE29C328D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t>5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6597C7F-1659-0DD5-7838-4034EBDFB4F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/>
              <a:t>Copyright BFY Group, 2026 – All rights reserved. Confidential and proprietary</a:t>
            </a:r>
            <a:endParaRPr lang="en-GB" dirty="0"/>
          </a:p>
        </p:txBody>
      </p:sp>
      <p:graphicFrame>
        <p:nvGraphicFramePr>
          <p:cNvPr id="8" name="Content Placeholder 7">
            <a:extLst>
              <a:ext uri="{FF2B5EF4-FFF2-40B4-BE49-F238E27FC236}">
                <a16:creationId xmlns:a16="http://schemas.microsoft.com/office/drawing/2014/main" id="{41A4BE3F-38C6-D306-9D4C-F2C578B4FB51}"/>
              </a:ext>
            </a:extLst>
          </p:cNvPr>
          <p:cNvGraphicFramePr>
            <a:graphicFrameLocks noGrp="1"/>
          </p:cNvGraphicFramePr>
          <p:nvPr>
            <p:ph sz="quarter" idx="15"/>
            <p:extLst>
              <p:ext uri="{D42A27DB-BD31-4B8C-83A1-F6EECF244321}">
                <p14:modId xmlns:p14="http://schemas.microsoft.com/office/powerpoint/2010/main" val="1530576404"/>
              </p:ext>
            </p:extLst>
          </p:nvPr>
        </p:nvGraphicFramePr>
        <p:xfrm>
          <a:off x="369888" y="2043113"/>
          <a:ext cx="11449050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89810">
                  <a:extLst>
                    <a:ext uri="{9D8B030D-6E8A-4147-A177-3AD203B41FA5}">
                      <a16:colId xmlns:a16="http://schemas.microsoft.com/office/drawing/2014/main" val="92469610"/>
                    </a:ext>
                  </a:extLst>
                </a:gridCol>
                <a:gridCol w="2289810">
                  <a:extLst>
                    <a:ext uri="{9D8B030D-6E8A-4147-A177-3AD203B41FA5}">
                      <a16:colId xmlns:a16="http://schemas.microsoft.com/office/drawing/2014/main" val="507144387"/>
                    </a:ext>
                  </a:extLst>
                </a:gridCol>
                <a:gridCol w="2289810">
                  <a:extLst>
                    <a:ext uri="{9D8B030D-6E8A-4147-A177-3AD203B41FA5}">
                      <a16:colId xmlns:a16="http://schemas.microsoft.com/office/drawing/2014/main" val="3621159220"/>
                    </a:ext>
                  </a:extLst>
                </a:gridCol>
                <a:gridCol w="2289810">
                  <a:extLst>
                    <a:ext uri="{9D8B030D-6E8A-4147-A177-3AD203B41FA5}">
                      <a16:colId xmlns:a16="http://schemas.microsoft.com/office/drawing/2014/main" val="1408013532"/>
                    </a:ext>
                  </a:extLst>
                </a:gridCol>
                <a:gridCol w="2289810">
                  <a:extLst>
                    <a:ext uri="{9D8B030D-6E8A-4147-A177-3AD203B41FA5}">
                      <a16:colId xmlns:a16="http://schemas.microsoft.com/office/drawing/2014/main" val="34030523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sz="1050"/>
                        <a:t>Model</a:t>
                      </a:r>
                      <a:endParaRPr lang="en-GB" sz="1050" dirty="0"/>
                    </a:p>
                  </a:txBody>
                  <a:tcPr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sz="1050"/>
                        <a:t>Revenue potential</a:t>
                      </a:r>
                      <a:endParaRPr lang="en-GB" sz="1050"/>
                    </a:p>
                  </a:txBody>
                  <a:tcPr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sz="1050"/>
                        <a:t>Regulatory complexity</a:t>
                      </a:r>
                      <a:endParaRPr lang="en-GB" sz="1050"/>
                    </a:p>
                  </a:txBody>
                  <a:tcPr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sz="1050"/>
                        <a:t>Customer ownership</a:t>
                      </a:r>
                      <a:endParaRPr lang="en-GB" sz="1050"/>
                    </a:p>
                  </a:txBody>
                  <a:tcPr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sz="1050"/>
                        <a:t>Supplier dependency</a:t>
                      </a:r>
                      <a:endParaRPr lang="en-GB" sz="1050"/>
                    </a:p>
                  </a:txBody>
                  <a:tcPr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093671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sz="1050"/>
                        <a:t>Export PPA</a:t>
                      </a:r>
                      <a:endParaRPr lang="en-GB" sz="1050" dirty="0"/>
                    </a:p>
                  </a:txBody>
                  <a:tcPr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sz="1050"/>
                        <a:t>Low</a:t>
                      </a:r>
                      <a:endParaRPr lang="en-GB" sz="1050" dirty="0"/>
                    </a:p>
                  </a:txBody>
                  <a:tcPr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sz="1050"/>
                        <a:t>Very low</a:t>
                      </a:r>
                      <a:endParaRPr lang="en-GB" sz="1050" dirty="0"/>
                    </a:p>
                  </a:txBody>
                  <a:tcPr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sz="1050"/>
                        <a:t>None</a:t>
                      </a:r>
                      <a:endParaRPr lang="en-GB" sz="1050"/>
                    </a:p>
                  </a:txBody>
                  <a:tcPr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sz="1050"/>
                        <a:t>High</a:t>
                      </a:r>
                      <a:endParaRPr lang="en-GB" sz="1050"/>
                    </a:p>
                  </a:txBody>
                  <a:tcPr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774349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sz="1050"/>
                        <a:t>Supplier partnership</a:t>
                      </a:r>
                      <a:endParaRPr lang="en-GB" sz="1050" dirty="0"/>
                    </a:p>
                  </a:txBody>
                  <a:tcPr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sz="1050"/>
                        <a:t>Medium</a:t>
                      </a:r>
                      <a:endParaRPr lang="en-GB" sz="1050" dirty="0"/>
                    </a:p>
                  </a:txBody>
                  <a:tcPr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sz="1050"/>
                        <a:t>Low</a:t>
                      </a:r>
                      <a:endParaRPr lang="en-GB" sz="1050"/>
                    </a:p>
                  </a:txBody>
                  <a:tcPr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sz="1050"/>
                        <a:t>Partial</a:t>
                      </a:r>
                      <a:endParaRPr lang="en-GB" sz="1050" dirty="0"/>
                    </a:p>
                  </a:txBody>
                  <a:tcPr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sz="1050"/>
                        <a:t>Medium</a:t>
                      </a:r>
                      <a:endParaRPr lang="en-GB" sz="1050"/>
                    </a:p>
                  </a:txBody>
                  <a:tcPr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0887593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sz="1050"/>
                        <a:t>Licence Lite</a:t>
                      </a:r>
                      <a:endParaRPr lang="en-GB" sz="1050" dirty="0"/>
                    </a:p>
                  </a:txBody>
                  <a:tcPr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sz="1050"/>
                        <a:t>Medium-high</a:t>
                      </a:r>
                      <a:endParaRPr lang="en-GB" sz="1050"/>
                    </a:p>
                  </a:txBody>
                  <a:tcPr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sz="1050"/>
                        <a:t>Medium</a:t>
                      </a:r>
                      <a:endParaRPr lang="en-GB" sz="1050"/>
                    </a:p>
                  </a:txBody>
                  <a:tcPr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sz="1050"/>
                        <a:t>Strong</a:t>
                      </a:r>
                      <a:endParaRPr lang="en-GB" sz="1050" dirty="0"/>
                    </a:p>
                  </a:txBody>
                  <a:tcPr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sz="1050"/>
                        <a:t>Medium</a:t>
                      </a:r>
                      <a:endParaRPr lang="en-GB" sz="1050" dirty="0"/>
                    </a:p>
                  </a:txBody>
                  <a:tcPr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7670749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sz="1050"/>
                        <a:t>Full supply</a:t>
                      </a:r>
                      <a:endParaRPr lang="en-GB" sz="1050" dirty="0"/>
                    </a:p>
                  </a:txBody>
                  <a:tcPr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sz="1050"/>
                        <a:t>High</a:t>
                      </a:r>
                      <a:endParaRPr lang="en-GB" sz="1050"/>
                    </a:p>
                  </a:txBody>
                  <a:tcPr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sz="1050"/>
                        <a:t>Very high</a:t>
                      </a:r>
                      <a:endParaRPr lang="en-GB" sz="1050"/>
                    </a:p>
                  </a:txBody>
                  <a:tcPr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sz="1050"/>
                        <a:t>Full</a:t>
                      </a:r>
                      <a:endParaRPr lang="en-GB" sz="1050" dirty="0"/>
                    </a:p>
                  </a:txBody>
                  <a:tcPr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sz="1050"/>
                        <a:t>Low</a:t>
                      </a:r>
                      <a:endParaRPr lang="en-GB" sz="1050" dirty="0"/>
                    </a:p>
                  </a:txBody>
                  <a:tcPr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910875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sz="1050"/>
                        <a:t>Flexibility-led</a:t>
                      </a:r>
                      <a:endParaRPr lang="en-GB" sz="1050" dirty="0"/>
                    </a:p>
                  </a:txBody>
                  <a:tcPr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sz="1050"/>
                        <a:t>Medium-high</a:t>
                      </a:r>
                      <a:endParaRPr lang="en-GB" sz="1050"/>
                    </a:p>
                  </a:txBody>
                  <a:tcPr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sz="1050"/>
                        <a:t>Medium</a:t>
                      </a:r>
                      <a:endParaRPr lang="en-GB" sz="1050"/>
                    </a:p>
                  </a:txBody>
                  <a:tcPr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sz="1050"/>
                        <a:t>Indirect</a:t>
                      </a:r>
                      <a:endParaRPr lang="en-GB" sz="1050"/>
                    </a:p>
                  </a:txBody>
                  <a:tcPr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sz="1050"/>
                        <a:t>Low</a:t>
                      </a:r>
                      <a:endParaRPr lang="en-GB" sz="1050" dirty="0"/>
                    </a:p>
                  </a:txBody>
                  <a:tcPr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52860813"/>
                  </a:ext>
                </a:extLst>
              </a:tr>
            </a:tbl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4CFC1FD-80F9-0FF7-DDF5-7E3DD187355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/>
            <a:r>
              <a:t>No single model dominates across all dimensions</a:t>
            </a:r>
            <a:endParaRPr lang="en-GB" dirty="0"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Content Placeholder 1"/>
          <p:cNvSpPr>
            <a:spLocks noGrp="1"/>
          </p:cNvSpPr>
          <p:nvPr>
            <p:ph idx="15" sz="quarter"/>
          </p:nvPr>
        </p:nvSpPr>
        <p:spPr/>
        <p:txBody>
          <a:bodyPr/>
          <a:lstStyle/>
          <a:p>
            <a:pPr/>
            <a:r>
              <a:t>They are the most scalable and commercially balanced option</a:t>
            </a:r>
          </a:p>
          <a:p>
            <a:pPr/>
            <a:r>
              <a:t>Core structures include sleeved PPAs, white-label tariffs, and behind-the-meter discounting</a:t>
            </a:r>
          </a:p>
          <a:p>
            <a:pPr/>
            <a:r>
              <a:t>Supplier manages settlement, balancing, billing, and customer operations</a:t>
            </a:r>
          </a:p>
          <a:p>
            <a:pPr/>
            <a:r>
              <a:t>Solar company retains asset ownership and generation economics</a:t>
            </a:r>
          </a:p>
          <a:p>
            <a:pPr/>
            <a:r>
              <a:t>Partial customer linkage is maintained without full operational responsibility</a:t>
            </a:r>
          </a:p>
          <a:p>
            <a:pPr/>
            <a:r>
              <a:t>Model scales efficiently across fragmented housing association portfolios</a:t>
            </a:r>
          </a:p>
          <a:p>
            <a:pPr/>
            <a:r>
              <a:t>Enables rapid deployment without building new core capabilitie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Supplier-partner models capture meaningful value without operational burden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5CAD230-1430-2D18-CDAD-1ADEEC8C346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>
                <a:solidFill>
                  <a:schemeClr val="accent1"/>
                </a:solidFill>
              </a:rPr>
              <a:t>MONETISING DISTRIBUTED SOLAR</a:t>
            </a:r>
            <a:br>
              <a:rPr lang="en-GB" dirty="0"/>
            </a:br>
            <a:r>
              <a:rPr lang="en-GB" dirty="0"/>
              <a:t>STRATEGIC OPTION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6C3FDFB-0584-E63F-02DF-9C4C868F4A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t>6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5602060-85A2-50CC-D80B-250221B0D1D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Content Placeholder 1"/>
          <p:cNvSpPr>
            <a:spLocks noGrp="1"/>
          </p:cNvSpPr>
          <p:nvPr>
            <p:ph idx="15" sz="quarter"/>
          </p:nvPr>
        </p:nvSpPr>
        <p:spPr/>
        <p:txBody>
          <a:bodyPr/>
          <a:lstStyle/>
          <a:p>
            <a:pPr/>
            <a:r>
              <a:t>It creates a fundamentally different operating model and risk profile</a:t>
            </a:r>
          </a:p>
          <a:p>
            <a:pPr/>
            <a:r>
              <a:t>Requires capabilities in wholesale trading, hedging, settlement, and compliance</a:t>
            </a:r>
          </a:p>
          <a:p>
            <a:pPr/>
            <a:r>
              <a:t>Introduces billing, customer service, and operational infrastructure requirements</a:t>
            </a:r>
          </a:p>
          <a:p>
            <a:pPr/>
            <a:r>
              <a:t>Creates material working capital exposure and cash flow volatility</a:t>
            </a:r>
          </a:p>
          <a:p>
            <a:pPr/>
            <a:r>
              <a:t>Increases regulatory scrutiny and compliance burden</a:t>
            </a:r>
          </a:p>
          <a:p>
            <a:pPr/>
            <a:r>
              <a:t>Often requires supplier-in-a-box platforms to reduce complexity</a:t>
            </a:r>
          </a:p>
          <a:p>
            <a:pPr/>
            <a:r>
              <a:t>Represents a step change in business model rather than an incremental extension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Full supply licensing introduces complexity that isn't aligned to asset ownership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5CAD230-1430-2D18-CDAD-1ADEEC8C346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>
                <a:solidFill>
                  <a:schemeClr val="accent1"/>
                </a:solidFill>
              </a:rPr>
              <a:t>MONETISING DISTRIBUTED SOLAR</a:t>
            </a:r>
            <a:br>
              <a:rPr lang="en-GB" dirty="0"/>
            </a:br>
            <a:r>
              <a:rPr lang="en-GB" dirty="0"/>
              <a:t>STRATEGIC OPTION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6C3FDFB-0584-E63F-02DF-9C4C868F4A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t>7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5602060-85A2-50CC-D80B-250221B0D1D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Content Placeholder 1"/>
          <p:cNvSpPr>
            <a:spLocks noGrp="1"/>
          </p:cNvSpPr>
          <p:nvPr>
            <p:ph idx="15" sz="quarter"/>
          </p:nvPr>
        </p:nvSpPr>
        <p:spPr/>
        <p:txBody>
          <a:bodyPr/>
          <a:lstStyle/>
          <a:p>
            <a:pPr/>
            <a:r>
              <a:t>They monetise energy but not customer or system value</a:t>
            </a:r>
          </a:p>
          <a:p>
            <a:pPr/>
            <a:r>
              <a:t>Monetisation routes include SEG, export PPAs, and aggregator trading</a:t>
            </a:r>
          </a:p>
          <a:p>
            <a:pPr/>
            <a:r>
              <a:t>Benefits include minimal regulatory burden and ease of implementation</a:t>
            </a:r>
          </a:p>
          <a:p>
            <a:pPr/>
            <a:r>
              <a:t>Revenue per kWh is structurally lower than integrated models</a:t>
            </a:r>
          </a:p>
          <a:p>
            <a:pPr/>
            <a:r>
              <a:t>No ownership of customer relationship or demand-side behaviour</a:t>
            </a:r>
          </a:p>
          <a:p>
            <a:pPr/>
            <a:r>
              <a:t>No ability to optimise self-consumption or load shaping</a:t>
            </a:r>
          </a:p>
          <a:p>
            <a:pPr/>
            <a:r>
              <a:t>Long-term value leakage as downstream players capture margin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Export-only approaches are easy to implement but leave significant value unrealised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5CAD230-1430-2D18-CDAD-1ADEEC8C346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>
                <a:solidFill>
                  <a:schemeClr val="accent1"/>
                </a:solidFill>
              </a:rPr>
              <a:t>MONETISING DISTRIBUTED SOLAR</a:t>
            </a:r>
            <a:br>
              <a:rPr lang="en-GB" dirty="0"/>
            </a:br>
            <a:r>
              <a:rPr lang="en-GB" dirty="0"/>
              <a:t>STRATEGIC OPTION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6C3FDFB-0584-E63F-02DF-9C4C868F4A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t>8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5602060-85A2-50CC-D80B-250221B0D1D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Content Placeholder 1"/>
          <p:cNvSpPr>
            <a:spLocks noGrp="1"/>
          </p:cNvSpPr>
          <p:nvPr>
            <p:ph idx="15" sz="quarter"/>
          </p:nvPr>
        </p:nvSpPr>
        <p:spPr/>
        <p:txBody>
          <a:bodyPr/>
          <a:lstStyle/>
          <a:p>
            <a:pPr/>
            <a:r>
              <a:t>Generation alone is no longer sufficient to maximise returns</a:t>
            </a:r>
          </a:p>
          <a:p>
            <a:pPr/>
            <a:r>
              <a:t>Batteries enable price arbitrage through time-shifting of generation</a:t>
            </a:r>
          </a:p>
          <a:p>
            <a:pPr/>
            <a:r>
              <a:t>Peak shifting reduces exposure to high-cost grid imports</a:t>
            </a:r>
          </a:p>
          <a:p>
            <a:pPr/>
            <a:r>
              <a:t>Participation in grid services provides additional revenue streams</a:t>
            </a:r>
          </a:p>
          <a:p>
            <a:pPr/>
            <a:r>
              <a:t>Portfolio aggregation enables local flexibility and constraint management</a:t>
            </a:r>
          </a:p>
          <a:p>
            <a:pPr/>
            <a:r>
              <a:t>Flexibility revenues can exceed export value under certain conditions</a:t>
            </a:r>
          </a:p>
          <a:p>
            <a:pPr/>
            <a:r>
              <a:t>Future market design is increasingly oriented around flexibility service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Flexibility and storage will drive the next phase of value creation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5CAD230-1430-2D18-CDAD-1ADEEC8C346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>
                <a:solidFill>
                  <a:schemeClr val="accent1"/>
                </a:solidFill>
              </a:rPr>
              <a:t>MONETISING DISTRIBUTED SOLAR</a:t>
            </a:r>
            <a:br>
              <a:rPr lang="en-GB" dirty="0"/>
            </a:br>
            <a:r>
              <a:rPr lang="en-GB" dirty="0"/>
              <a:t>STRATEGIC OPTION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6C3FDFB-0584-E63F-02DF-9C4C868F4A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t>9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5602060-85A2-50CC-D80B-250221B0D1D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123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--- TITLES ---">
  <a:themeElements>
    <a:clrScheme name="BFY Group 2023">
      <a:dk1>
        <a:srgbClr val="242628"/>
      </a:dk1>
      <a:lt1>
        <a:srgbClr val="FFFFFF"/>
      </a:lt1>
      <a:dk2>
        <a:srgbClr val="00555C"/>
      </a:dk2>
      <a:lt2>
        <a:srgbClr val="F5F5F5"/>
      </a:lt2>
      <a:accent1>
        <a:srgbClr val="008F8F"/>
      </a:accent1>
      <a:accent2>
        <a:srgbClr val="FF7F4C"/>
      </a:accent2>
      <a:accent3>
        <a:srgbClr val="FFFFFF"/>
      </a:accent3>
      <a:accent4>
        <a:srgbClr val="005384"/>
      </a:accent4>
      <a:accent5>
        <a:srgbClr val="8FC6C1"/>
      </a:accent5>
      <a:accent6>
        <a:srgbClr val="86A4B7"/>
      </a:accent6>
      <a:hlink>
        <a:srgbClr val="FF7F4C"/>
      </a:hlink>
      <a:folHlink>
        <a:srgbClr val="00555C"/>
      </a:folHlink>
    </a:clrScheme>
    <a:fontScheme name="BFY Default">
      <a:majorFont>
        <a:latin typeface="Libre Baskerville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5" id="{4EBB7CD2-4715-F34A-ACC5-615EB152311A}" vid="{9D4DD6B3-2AE5-6842-A589-C6FF613506D6}"/>
    </a:ext>
  </a:extLst>
</a:theme>
</file>

<file path=ppt/theme/theme2.xml><?xml version="1.0" encoding="utf-8"?>
<a:theme xmlns:a="http://schemas.openxmlformats.org/drawingml/2006/main" name="--- CONTENT ---">
  <a:themeElements>
    <a:clrScheme name="BFY Group 2023">
      <a:dk1>
        <a:srgbClr val="242628"/>
      </a:dk1>
      <a:lt1>
        <a:srgbClr val="FFFFFF"/>
      </a:lt1>
      <a:dk2>
        <a:srgbClr val="00555C"/>
      </a:dk2>
      <a:lt2>
        <a:srgbClr val="F5F5F5"/>
      </a:lt2>
      <a:accent1>
        <a:srgbClr val="008F8F"/>
      </a:accent1>
      <a:accent2>
        <a:srgbClr val="FF7F4C"/>
      </a:accent2>
      <a:accent3>
        <a:srgbClr val="FFFFFF"/>
      </a:accent3>
      <a:accent4>
        <a:srgbClr val="005384"/>
      </a:accent4>
      <a:accent5>
        <a:srgbClr val="8FC6C1"/>
      </a:accent5>
      <a:accent6>
        <a:srgbClr val="86A4B7"/>
      </a:accent6>
      <a:hlink>
        <a:srgbClr val="FF7F4C"/>
      </a:hlink>
      <a:folHlink>
        <a:srgbClr val="00555C"/>
      </a:folHlink>
    </a:clrScheme>
    <a:fontScheme name="BFY Default">
      <a:majorFont>
        <a:latin typeface="Libre Baskerville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0" rtlCol="0">
        <a:spAutoFit/>
      </a:bodyPr>
      <a:lstStyle>
        <a:defPPr algn="l">
          <a:defRPr sz="14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5" id="{4EBB7CD2-4715-F34A-ACC5-615EB152311A}" vid="{0FE3447D-B573-DF40-BAAF-411E792F89D9}"/>
    </a:ext>
  </a:extLst>
</a:theme>
</file>

<file path=ppt/theme/theme3.xml><?xml version="1.0" encoding="utf-8"?>
<a:theme xmlns:a="http://schemas.openxmlformats.org/drawingml/2006/main" name="1_--- FEATURES ---">
  <a:themeElements>
    <a:clrScheme name="BFY Group 2023">
      <a:dk1>
        <a:srgbClr val="242628"/>
      </a:dk1>
      <a:lt1>
        <a:srgbClr val="FFFFFF"/>
      </a:lt1>
      <a:dk2>
        <a:srgbClr val="00555C"/>
      </a:dk2>
      <a:lt2>
        <a:srgbClr val="F5F5F5"/>
      </a:lt2>
      <a:accent1>
        <a:srgbClr val="008F8F"/>
      </a:accent1>
      <a:accent2>
        <a:srgbClr val="FF7F4C"/>
      </a:accent2>
      <a:accent3>
        <a:srgbClr val="FFFFFF"/>
      </a:accent3>
      <a:accent4>
        <a:srgbClr val="005384"/>
      </a:accent4>
      <a:accent5>
        <a:srgbClr val="8FC6C1"/>
      </a:accent5>
      <a:accent6>
        <a:srgbClr val="86A4B7"/>
      </a:accent6>
      <a:hlink>
        <a:srgbClr val="FF7F4C"/>
      </a:hlink>
      <a:folHlink>
        <a:srgbClr val="00555C"/>
      </a:folHlink>
    </a:clrScheme>
    <a:fontScheme name="BFY Default">
      <a:majorFont>
        <a:latin typeface="Libre Baskerville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5" id="{4EBB7CD2-4715-F34A-ACC5-615EB152311A}" vid="{50D7486A-D61C-8349-B78C-4465E9F81299}"/>
    </a:ext>
  </a:extLst>
</a:theme>
</file>

<file path=ppt/theme/theme4.xml><?xml version="1.0" encoding="utf-8"?>
<a:theme xmlns:a="http://schemas.openxmlformats.org/drawingml/2006/main" name="--- CLOSING ---">
  <a:themeElements>
    <a:clrScheme name="BFY Group 2023">
      <a:dk1>
        <a:srgbClr val="242628"/>
      </a:dk1>
      <a:lt1>
        <a:srgbClr val="FFFFFF"/>
      </a:lt1>
      <a:dk2>
        <a:srgbClr val="00555C"/>
      </a:dk2>
      <a:lt2>
        <a:srgbClr val="F5F5F5"/>
      </a:lt2>
      <a:accent1>
        <a:srgbClr val="008F8F"/>
      </a:accent1>
      <a:accent2>
        <a:srgbClr val="FF7F4C"/>
      </a:accent2>
      <a:accent3>
        <a:srgbClr val="FFFFFF"/>
      </a:accent3>
      <a:accent4>
        <a:srgbClr val="005384"/>
      </a:accent4>
      <a:accent5>
        <a:srgbClr val="8FC6C1"/>
      </a:accent5>
      <a:accent6>
        <a:srgbClr val="86A4B7"/>
      </a:accent6>
      <a:hlink>
        <a:srgbClr val="FF7F4C"/>
      </a:hlink>
      <a:folHlink>
        <a:srgbClr val="00555C"/>
      </a:folHlink>
    </a:clrScheme>
    <a:fontScheme name="BFY Default">
      <a:majorFont>
        <a:latin typeface="Libre Baskerville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5" id="{4EBB7CD2-4715-F34A-ACC5-615EB152311A}" vid="{2F37813F-71BA-834E-8748-5D0C5ED638A0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f9dba333-577e-48b5-9211-0510d5619410">
      <Terms xmlns="http://schemas.microsoft.com/office/infopath/2007/PartnerControls"/>
    </lcf76f155ced4ddcb4097134ff3c332f>
    <SharedWithUsers xmlns="8161456a-983f-4057-aae3-12b43deeda2c">
      <UserInfo>
        <DisplayName/>
        <AccountId xsi:nil="true"/>
        <AccountType/>
      </UserInfo>
    </SharedWithUsers>
    <TaxCatchAll xmlns="8161456a-983f-4057-aae3-12b43deeda2c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7AF16FCDA1B9499A768193FF1DC1B7" ma:contentTypeVersion="19" ma:contentTypeDescription="Create a new document." ma:contentTypeScope="" ma:versionID="ea00fa05ad07f1c2200516f58f2f7c3b">
  <xsd:schema xmlns:xsd="http://www.w3.org/2001/XMLSchema" xmlns:xs="http://www.w3.org/2001/XMLSchema" xmlns:p="http://schemas.microsoft.com/office/2006/metadata/properties" xmlns:ns2="f9dba333-577e-48b5-9211-0510d5619410" xmlns:ns3="8161456a-983f-4057-aae3-12b43deeda2c" targetNamespace="http://schemas.microsoft.com/office/2006/metadata/properties" ma:root="true" ma:fieldsID="6536de64870143c1e5e792dce065f79c" ns2:_="" ns3:_="">
    <xsd:import namespace="f9dba333-577e-48b5-9211-0510d5619410"/>
    <xsd:import namespace="8161456a-983f-4057-aae3-12b43deeda2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3:TaxCatchAll" minOccurs="0"/>
                <xsd:element ref="ns2:lcf76f155ced4ddcb4097134ff3c332f" minOccurs="0"/>
                <xsd:element ref="ns2:MediaLengthInSeconds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9dba333-577e-48b5-9211-0510d561941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0f44c4f9-b934-4cd8-b927-cfee14c177f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LengthInSeconds" ma:index="22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161456a-983f-4057-aae3-12b43deeda2c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9" nillable="true" ma:displayName="Taxonomy Catch All Column" ma:hidden="true" ma:list="{440235e3-b9bb-4a6c-be83-28c7a9538bc2}" ma:internalName="TaxCatchAll" ma:showField="CatchAllData" ma:web="8161456a-983f-4057-aae3-12b43deeda2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78E309B-7409-4963-BFC2-E8885A637518}">
  <ds:schemaRefs>
    <ds:schemaRef ds:uri="http://purl.org/dc/elements/1.1/"/>
    <ds:schemaRef ds:uri="http://purl.org/dc/terms/"/>
    <ds:schemaRef ds:uri="http://purl.org/dc/dcmitype/"/>
    <ds:schemaRef ds:uri="http://schemas.microsoft.com/office/2006/documentManagement/types"/>
    <ds:schemaRef ds:uri="http://schemas.microsoft.com/office/2006/metadata/properties"/>
    <ds:schemaRef ds:uri="f9dba333-577e-48b5-9211-0510d5619410"/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8161456a-983f-4057-aae3-12b43deeda2c"/>
  </ds:schemaRefs>
</ds:datastoreItem>
</file>

<file path=customXml/itemProps2.xml><?xml version="1.0" encoding="utf-8"?>
<ds:datastoreItem xmlns:ds="http://schemas.openxmlformats.org/officeDocument/2006/customXml" ds:itemID="{9B520B69-2A5F-4A76-8B1B-BFBAAF5AEA1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9dba333-577e-48b5-9211-0510d5619410"/>
    <ds:schemaRef ds:uri="8161456a-983f-4057-aae3-12b43deeda2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C8408E70-B1CD-4F06-9E7E-A8D046F67A4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--- TITLES ---</Template>
  <TotalTime>273</TotalTime>
  <Words>161</Words>
  <Application>Microsoft Macintosh PowerPoint</Application>
  <PresentationFormat>Widescreen</PresentationFormat>
  <Paragraphs>27</Paragraphs>
  <Slides>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9" baseType="lpstr">
      <vt:lpstr>Arial</vt:lpstr>
      <vt:lpstr>Calibri</vt:lpstr>
      <vt:lpstr>Libre Baskerville</vt:lpstr>
      <vt:lpstr>Verdana</vt:lpstr>
      <vt:lpstr>Wingdings</vt:lpstr>
      <vt:lpstr>--- TITLES ---</vt:lpstr>
      <vt:lpstr>--- CONTENT ---</vt:lpstr>
      <vt:lpstr>1_--- FEATURES ---</vt:lpstr>
      <vt:lpstr>--- CLOSING ---</vt:lpstr>
      <vt:lpstr>think-cell Slide</vt:lpstr>
      <vt:lpstr>Slide Master Templat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Matt Turner</dc:creator>
  <cp:lastModifiedBy>Matt Turner</cp:lastModifiedBy>
  <cp:revision>2</cp:revision>
  <dcterms:created xsi:type="dcterms:W3CDTF">2026-04-02T23:17:07Z</dcterms:created>
  <dcterms:modified xsi:type="dcterms:W3CDTF">2026-04-08T22:44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17AF16FCDA1B9499A768193FF1DC1B7</vt:lpwstr>
  </property>
  <property fmtid="{D5CDD505-2E9C-101B-9397-08002B2CF9AE}" pid="3" name="MediaServiceImageTags">
    <vt:lpwstr/>
  </property>
  <property fmtid="{D5CDD505-2E9C-101B-9397-08002B2CF9AE}" pid="4" name="ComplianceAssetId">
    <vt:lpwstr/>
  </property>
  <property fmtid="{D5CDD505-2E9C-101B-9397-08002B2CF9AE}" pid="5" name="_ExtendedDescription">
    <vt:lpwstr/>
  </property>
  <property fmtid="{D5CDD505-2E9C-101B-9397-08002B2CF9AE}" pid="6" name="TriggerFlowInfo">
    <vt:lpwstr/>
  </property>
</Properties>
</file>